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ebp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85" r:id="rId2"/>
    <p:sldId id="277" r:id="rId3"/>
    <p:sldId id="288" r:id="rId4"/>
    <p:sldId id="294" r:id="rId5"/>
    <p:sldId id="289" r:id="rId6"/>
    <p:sldId id="292" r:id="rId7"/>
    <p:sldId id="295" r:id="rId8"/>
    <p:sldId id="293" r:id="rId9"/>
    <p:sldId id="287" r:id="rId10"/>
  </p:sldIdLst>
  <p:sldSz cx="12192000" cy="6858000"/>
  <p:notesSz cx="6742113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uel Stäbler" initials="SS" lastIdx="3" clrIdx="0">
    <p:extLst>
      <p:ext uri="{19B8F6BF-5375-455C-9EA6-DF929625EA0E}">
        <p15:presenceInfo xmlns:p15="http://schemas.microsoft.com/office/powerpoint/2012/main" userId="Samuel Stäb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185" autoAdjust="0"/>
    <p:restoredTop sz="94660"/>
  </p:normalViewPr>
  <p:slideViewPr>
    <p:cSldViewPr snapToGrid="0">
      <p:cViewPr varScale="1">
        <p:scale>
          <a:sx n="68" d="100"/>
          <a:sy n="68" d="100"/>
        </p:scale>
        <p:origin x="7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41B033-01CA-492B-B38E-2DF500A153C0}" type="datetimeFigureOut">
              <a:rPr lang="en-GB" smtClean="0"/>
              <a:t>12/05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296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751220"/>
            <a:ext cx="539369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18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CDDDFD-DF37-487C-852A-822CFD4420E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43943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20123" indent="-276970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07881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551034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1994187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437338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880491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323645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766797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CA444CCC-9A92-5142-AA46-A51F42A060CC}" type="slidenum">
              <a:rPr lang="de-DE" sz="1400">
                <a:latin typeface="Times New Roman" charset="0"/>
              </a:rPr>
              <a:pPr/>
              <a:t>5</a:t>
            </a:fld>
            <a:endParaRPr lang="de-DE" sz="1400" dirty="0">
              <a:latin typeface="Times New Roman" charset="0"/>
            </a:endParaRPr>
          </a:p>
        </p:txBody>
      </p:sp>
      <p:sp>
        <p:nvSpPr>
          <p:cNvPr id="1095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957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de-DE" b="1" dirty="0" smtClean="0"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479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20123" indent="-276970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07881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551034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1994187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437338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880491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323645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766797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CA444CCC-9A92-5142-AA46-A51F42A060CC}" type="slidenum">
              <a:rPr lang="de-DE" sz="1400">
                <a:latin typeface="Times New Roman" charset="0"/>
              </a:rPr>
              <a:pPr/>
              <a:t>6</a:t>
            </a:fld>
            <a:endParaRPr lang="de-DE" sz="1400" dirty="0">
              <a:latin typeface="Times New Roman" charset="0"/>
            </a:endParaRPr>
          </a:p>
        </p:txBody>
      </p:sp>
      <p:sp>
        <p:nvSpPr>
          <p:cNvPr id="1095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957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de-DE" b="1" dirty="0" smtClean="0"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44106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20123" indent="-276970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07881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551034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1994187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437338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880491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323645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766797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CA444CCC-9A92-5142-AA46-A51F42A060CC}" type="slidenum">
              <a:rPr lang="de-DE" sz="1400">
                <a:latin typeface="Times New Roman" charset="0"/>
              </a:rPr>
              <a:pPr/>
              <a:t>7</a:t>
            </a:fld>
            <a:endParaRPr lang="de-DE" sz="1400" dirty="0">
              <a:latin typeface="Times New Roman" charset="0"/>
            </a:endParaRPr>
          </a:p>
        </p:txBody>
      </p:sp>
      <p:sp>
        <p:nvSpPr>
          <p:cNvPr id="1095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957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de-DE" b="1" dirty="0" smtClean="0"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712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20123" indent="-276970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07881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551034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1994187" indent="-221576" defTabSz="935544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437338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880491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323645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766797" indent="-221576" defTabSz="935544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CA444CCC-9A92-5142-AA46-A51F42A060CC}" type="slidenum">
              <a:rPr lang="de-DE" sz="1400">
                <a:latin typeface="Times New Roman" charset="0"/>
              </a:rPr>
              <a:pPr/>
              <a:t>8</a:t>
            </a:fld>
            <a:endParaRPr lang="de-DE" sz="1400" dirty="0">
              <a:latin typeface="Times New Roman" charset="0"/>
            </a:endParaRPr>
          </a:p>
        </p:txBody>
      </p:sp>
      <p:sp>
        <p:nvSpPr>
          <p:cNvPr id="1095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957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de-DE" b="1" dirty="0" smtClean="0"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8931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DF7F3-52D8-461D-BA9B-6F89A6C13500}" type="datetime1">
              <a:rPr lang="en-GB" smtClean="0"/>
              <a:t>12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/>
          <p:cNvPicPr/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51660" y="6184669"/>
            <a:ext cx="19431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75969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17EC1-F8F6-4B04-AF2D-69D2F0696CC7}" type="datetime1">
              <a:rPr lang="en-GB" smtClean="0"/>
              <a:t>12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61579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D259A0-70A3-4F61-AA94-997D47BD088A}" type="datetime1">
              <a:rPr lang="en-GB" smtClean="0"/>
              <a:t>12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65062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DD0A4F-A20B-4830-B3C9-1E1B9235F5D8}" type="datetime1">
              <a:rPr lang="en-GB" smtClean="0"/>
              <a:t>12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3888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246BE-B46C-45B4-AA54-66A8B6BCDCDF}" type="datetime1">
              <a:rPr lang="en-GB" smtClean="0"/>
              <a:t>12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1022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E8FDE-780E-4E32-B7F8-06CF3E17CD64}" type="datetime1">
              <a:rPr lang="en-GB" smtClean="0"/>
              <a:t>12/05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967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64E3-E173-4BD0-8E4D-13AC19FCD369}" type="datetime1">
              <a:rPr lang="en-GB" smtClean="0"/>
              <a:t>12/05/201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69377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90A6D9-D44C-44D4-826A-F3FAD5A1A571}" type="datetime1">
              <a:rPr lang="en-GB" smtClean="0"/>
              <a:t>12/05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1992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A2DE9-A6E2-4349-8778-2BD4286746F8}" type="datetime1">
              <a:rPr lang="en-GB" smtClean="0"/>
              <a:t>12/05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6828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E66C2-A036-4F97-A208-76AB27367B53}" type="datetime1">
              <a:rPr lang="en-GB" smtClean="0"/>
              <a:t>12/05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8928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36F32-B193-450A-85B5-6CE7F86EFE55}" type="datetime1">
              <a:rPr lang="en-GB" smtClean="0"/>
              <a:t>12/05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9440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D31B42-1F8F-4C18-A082-C1AB6DC45370}" type="datetime1">
              <a:rPr lang="en-GB" smtClean="0"/>
              <a:t>12/05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742E02-F916-491A-841C-77EB73A59E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0507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7.g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png"/><Relationship Id="rId9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ebp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cK Confidential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46484" y="1601943"/>
            <a:ext cx="10571748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3345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3345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3345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3345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3345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33450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33450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33450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33450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GB" sz="3200" b="1" dirty="0" smtClean="0">
                <a:latin typeface="+mn-lt"/>
                <a:cs typeface="Arial" pitchFamily="34" charset="0"/>
              </a:rPr>
              <a:t>Which Corporate Social Responsibility Activity has the Greatest Impact on Consumers and Investors? </a:t>
            </a:r>
            <a:br>
              <a:rPr lang="en-GB" sz="3200" b="1" dirty="0" smtClean="0">
                <a:latin typeface="+mn-lt"/>
                <a:cs typeface="Arial" pitchFamily="34" charset="0"/>
              </a:rPr>
            </a:br>
            <a:r>
              <a:rPr lang="en-GB" sz="3200" b="1" dirty="0" smtClean="0">
                <a:latin typeface="+mn-lt"/>
                <a:cs typeface="Arial" pitchFamily="34" charset="0"/>
              </a:rPr>
              <a:t>An Event Study Approach</a:t>
            </a:r>
            <a:endParaRPr lang="en-GB" sz="3200" b="1" dirty="0">
              <a:latin typeface="+mn-lt"/>
              <a:cs typeface="Arial" pitchFamily="34" charset="0"/>
            </a:endParaRPr>
          </a:p>
        </p:txBody>
      </p:sp>
      <p:sp>
        <p:nvSpPr>
          <p:cNvPr id="10" name="Subtitle 9"/>
          <p:cNvSpPr>
            <a:spLocks noGrp="1" noChangeArrowheads="1"/>
          </p:cNvSpPr>
          <p:nvPr>
            <p:ph type="subTitle" idx="4294967295"/>
          </p:nvPr>
        </p:nvSpPr>
        <p:spPr bwMode="gray">
          <a:xfrm>
            <a:off x="4464875" y="3817935"/>
            <a:ext cx="3620346" cy="978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marL="0" indent="0" algn="ctr">
              <a:buFont typeface="Arial" charset="0"/>
              <a:buNone/>
            </a:pPr>
            <a:r>
              <a:rPr lang="en-GB" sz="1800" b="1" dirty="0" smtClean="0">
                <a:solidFill>
                  <a:srgbClr val="000000"/>
                </a:solidFill>
                <a:cs typeface="Arial" pitchFamily="34" charset="0"/>
              </a:rPr>
              <a:t>Samuel Stäbler</a:t>
            </a:r>
            <a:r>
              <a:rPr lang="en-GB" sz="1800" dirty="0" smtClean="0">
                <a:solidFill>
                  <a:srgbClr val="000000"/>
                </a:solidFill>
                <a:cs typeface="Arial" pitchFamily="34" charset="0"/>
              </a:rPr>
              <a:t/>
            </a:r>
            <a:br>
              <a:rPr lang="en-GB" sz="1800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GB" sz="1800" dirty="0" smtClean="0">
                <a:solidFill>
                  <a:srgbClr val="000000"/>
                </a:solidFill>
                <a:cs typeface="Arial" pitchFamily="34" charset="0"/>
              </a:rPr>
              <a:t>Assistant Professor of Marketing</a:t>
            </a:r>
            <a:br>
              <a:rPr lang="en-GB" sz="1800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GB" sz="1800" dirty="0" smtClean="0">
                <a:solidFill>
                  <a:srgbClr val="000000"/>
                </a:solidFill>
                <a:cs typeface="Arial" pitchFamily="34" charset="0"/>
              </a:rPr>
              <a:t>Tilburg University</a:t>
            </a:r>
            <a:endParaRPr lang="en-GB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571611" y="6019618"/>
            <a:ext cx="24349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International Consumer </a:t>
            </a:r>
            <a:b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GB" sz="1400" dirty="0" smtClean="0">
                <a:solidFill>
                  <a:srgbClr val="000000"/>
                </a:solidFill>
                <a:cs typeface="Arial" pitchFamily="34" charset="0"/>
              </a:rPr>
              <a:t>Brand Relationship Conference</a:t>
            </a:r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925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34"/>
          <p:cNvSpPr>
            <a:spLocks noChangeArrowheads="1"/>
          </p:cNvSpPr>
          <p:nvPr/>
        </p:nvSpPr>
        <p:spPr bwMode="gray">
          <a:xfrm>
            <a:off x="395732" y="139920"/>
            <a:ext cx="1117062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2400" b="1" dirty="0" smtClean="0">
                <a:cs typeface="Arial" panose="020B0604020202020204" pitchFamily="34" charset="0"/>
              </a:rPr>
              <a:t>COMPANIES CAN BE INVOLVED IN A WIDE RANGE OF VERY DIFFERENT CSR ACTIVITIES</a:t>
            </a:r>
            <a:endParaRPr lang="en-US" sz="2400" b="1" i="1" dirty="0">
              <a:cs typeface="Arial" panose="020B0604020202020204" pitchFamily="34" charset="0"/>
            </a:endParaRPr>
          </a:p>
        </p:txBody>
      </p:sp>
      <p:sp>
        <p:nvSpPr>
          <p:cNvPr id="9" name="Abgerundetes Rechteck 30"/>
          <p:cNvSpPr/>
          <p:nvPr/>
        </p:nvSpPr>
        <p:spPr bwMode="gray">
          <a:xfrm>
            <a:off x="1106902" y="1010653"/>
            <a:ext cx="4732421" cy="304799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0" name="Rechteck 3"/>
          <p:cNvSpPr/>
          <p:nvPr/>
        </p:nvSpPr>
        <p:spPr>
          <a:xfrm>
            <a:off x="3437339" y="2165282"/>
            <a:ext cx="864108" cy="3042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22" t="27910" r="41203" b="57074"/>
          <a:stretch/>
        </p:blipFill>
        <p:spPr bwMode="auto">
          <a:xfrm rot="21350039">
            <a:off x="1330597" y="1294549"/>
            <a:ext cx="3521858" cy="104680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01" t="36648" r="45489" b="41360"/>
          <a:stretch/>
        </p:blipFill>
        <p:spPr bwMode="auto">
          <a:xfrm rot="21189250">
            <a:off x="3530398" y="2504381"/>
            <a:ext cx="2126478" cy="120728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7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95" t="48412" r="45834" b="32000"/>
          <a:stretch/>
        </p:blipFill>
        <p:spPr bwMode="auto">
          <a:xfrm rot="318336">
            <a:off x="1323403" y="2670254"/>
            <a:ext cx="1944108" cy="100972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870830" y="4348123"/>
            <a:ext cx="3214082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cs typeface="Arial" panose="020B0604020202020204" pitchFamily="34" charset="0"/>
              </a:rPr>
              <a:t>Environment-related activity</a:t>
            </a:r>
            <a:br>
              <a:rPr lang="en-US" sz="1600" dirty="0" smtClean="0">
                <a:cs typeface="Arial" panose="020B0604020202020204" pitchFamily="34" charset="0"/>
              </a:rPr>
            </a:br>
            <a:r>
              <a:rPr lang="en-US" sz="1600" dirty="0" smtClean="0">
                <a:cs typeface="Arial" panose="020B0604020202020204" pitchFamily="34" charset="0"/>
              </a:rPr>
              <a:t>               </a:t>
            </a:r>
            <a:r>
              <a:rPr lang="en-US" sz="1600" b="1" dirty="0" smtClean="0">
                <a:cs typeface="Arial" panose="020B0604020202020204" pitchFamily="34" charset="0"/>
              </a:rPr>
              <a:t>or</a:t>
            </a:r>
            <a:r>
              <a:rPr lang="en-US" sz="1600" dirty="0" smtClean="0">
                <a:cs typeface="Arial" panose="020B0604020202020204" pitchFamily="34" charset="0"/>
              </a:rPr>
              <a:t/>
            </a:r>
            <a:br>
              <a:rPr lang="en-US" sz="1600" dirty="0" smtClean="0">
                <a:cs typeface="Arial" panose="020B0604020202020204" pitchFamily="34" charset="0"/>
              </a:rPr>
            </a:br>
            <a:r>
              <a:rPr lang="en-US" sz="1600" dirty="0" smtClean="0">
                <a:cs typeface="Arial" panose="020B0604020202020204" pitchFamily="34" charset="0"/>
              </a:rPr>
              <a:t>Employee-related activity</a:t>
            </a:r>
            <a:br>
              <a:rPr lang="en-US" sz="1600" dirty="0" smtClean="0">
                <a:cs typeface="Arial" panose="020B0604020202020204" pitchFamily="34" charset="0"/>
              </a:rPr>
            </a:br>
            <a:r>
              <a:rPr lang="en-US" sz="1600" dirty="0" smtClean="0">
                <a:cs typeface="Arial" panose="020B0604020202020204" pitchFamily="34" charset="0"/>
              </a:rPr>
              <a:t>               </a:t>
            </a:r>
            <a:r>
              <a:rPr lang="en-US" sz="1600" b="1" dirty="0" smtClean="0">
                <a:cs typeface="Arial" panose="020B0604020202020204" pitchFamily="34" charset="0"/>
              </a:rPr>
              <a:t>or</a:t>
            </a:r>
            <a:endParaRPr lang="en-US" sz="1600" dirty="0" smtClean="0">
              <a:cs typeface="Arial" panose="020B0604020202020204" pitchFamily="34" charset="0"/>
            </a:endParaRPr>
          </a:p>
          <a:p>
            <a:r>
              <a:rPr lang="en-US" sz="1600" dirty="0" smtClean="0">
                <a:cs typeface="Arial" panose="020B0604020202020204" pitchFamily="34" charset="0"/>
              </a:rPr>
              <a:t>Society-related activity</a:t>
            </a:r>
            <a:endParaRPr lang="en-US" sz="1600" dirty="0">
              <a:cs typeface="Arial" panose="020B0604020202020204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5059" y="1139020"/>
            <a:ext cx="1197645" cy="898234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7980690" y="1234858"/>
            <a:ext cx="281789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cs typeface="Arial" panose="020B0604020202020204" pitchFamily="34" charset="0"/>
              </a:rPr>
              <a:t>Short-term activity    </a:t>
            </a:r>
          </a:p>
          <a:p>
            <a:r>
              <a:rPr lang="en-US" sz="1600" b="1" dirty="0" smtClean="0">
                <a:cs typeface="Arial" panose="020B0604020202020204" pitchFamily="34" charset="0"/>
              </a:rPr>
              <a:t>          or</a:t>
            </a:r>
            <a:r>
              <a:rPr lang="en-US" sz="1600" dirty="0" smtClean="0">
                <a:cs typeface="Arial" panose="020B0604020202020204" pitchFamily="34" charset="0"/>
              </a:rPr>
              <a:t>  </a:t>
            </a:r>
            <a:br>
              <a:rPr lang="en-US" sz="1600" dirty="0" smtClean="0">
                <a:cs typeface="Arial" panose="020B0604020202020204" pitchFamily="34" charset="0"/>
              </a:rPr>
            </a:br>
            <a:r>
              <a:rPr lang="en-US" sz="1600" dirty="0" smtClean="0">
                <a:cs typeface="Arial" panose="020B0604020202020204" pitchFamily="34" charset="0"/>
              </a:rPr>
              <a:t>Long-term activity</a:t>
            </a:r>
            <a:endParaRPr lang="en-US" sz="1600" dirty="0">
              <a:cs typeface="Arial" panose="020B0604020202020204" pitchFamily="34" charset="0"/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19" b="15633"/>
          <a:stretch/>
        </p:blipFill>
        <p:spPr>
          <a:xfrm>
            <a:off x="6634016" y="2231009"/>
            <a:ext cx="1153849" cy="8867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3" name="Rectangle 42"/>
          <p:cNvSpPr/>
          <p:nvPr/>
        </p:nvSpPr>
        <p:spPr>
          <a:xfrm>
            <a:off x="7980689" y="2249805"/>
            <a:ext cx="281789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cs typeface="Arial" panose="020B0604020202020204" pitchFamily="34" charset="0"/>
              </a:rPr>
              <a:t>Reactive activity</a:t>
            </a:r>
          </a:p>
          <a:p>
            <a:r>
              <a:rPr lang="en-US" sz="1600" b="1" dirty="0" smtClean="0">
                <a:cs typeface="Arial" panose="020B0604020202020204" pitchFamily="34" charset="0"/>
              </a:rPr>
              <a:t>          or</a:t>
            </a:r>
            <a:r>
              <a:rPr lang="en-US" sz="1600" dirty="0" smtClean="0">
                <a:cs typeface="Arial" panose="020B0604020202020204" pitchFamily="34" charset="0"/>
              </a:rPr>
              <a:t>  </a:t>
            </a:r>
            <a:br>
              <a:rPr lang="en-US" sz="1600" dirty="0" smtClean="0">
                <a:cs typeface="Arial" panose="020B0604020202020204" pitchFamily="34" charset="0"/>
              </a:rPr>
            </a:br>
            <a:r>
              <a:rPr lang="en-US" sz="1600" dirty="0" smtClean="0">
                <a:cs typeface="Arial" panose="020B0604020202020204" pitchFamily="34" charset="0"/>
              </a:rPr>
              <a:t>Proactive activity</a:t>
            </a:r>
            <a:endParaRPr lang="en-US" sz="1600" dirty="0">
              <a:cs typeface="Arial" panose="020B0604020202020204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70" t="8048" r="22715" b="7540"/>
          <a:stretch/>
        </p:blipFill>
        <p:spPr>
          <a:xfrm>
            <a:off x="6672686" y="3341009"/>
            <a:ext cx="1115179" cy="743735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7980689" y="3341009"/>
            <a:ext cx="28178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cs typeface="Arial" panose="020B0604020202020204" pitchFamily="34" charset="0"/>
              </a:rPr>
              <a:t>Home country activity</a:t>
            </a:r>
          </a:p>
          <a:p>
            <a:r>
              <a:rPr lang="en-US" sz="1600" b="1" dirty="0" smtClean="0">
                <a:cs typeface="Arial" panose="020B0604020202020204" pitchFamily="34" charset="0"/>
              </a:rPr>
              <a:t>              or</a:t>
            </a:r>
            <a:r>
              <a:rPr lang="en-US" sz="1600" dirty="0" smtClean="0">
                <a:cs typeface="Arial" panose="020B0604020202020204" pitchFamily="34" charset="0"/>
              </a:rPr>
              <a:t>  </a:t>
            </a:r>
            <a:br>
              <a:rPr lang="en-US" sz="1600" dirty="0" smtClean="0">
                <a:cs typeface="Arial" panose="020B0604020202020204" pitchFamily="34" charset="0"/>
              </a:rPr>
            </a:br>
            <a:r>
              <a:rPr lang="en-US" sz="1600" dirty="0" smtClean="0">
                <a:cs typeface="Arial" panose="020B0604020202020204" pitchFamily="34" charset="0"/>
              </a:rPr>
              <a:t>Foreign country activity</a:t>
            </a:r>
            <a:endParaRPr lang="en-US" sz="1600" dirty="0">
              <a:cs typeface="Arial" panose="020B0604020202020204" pitchFamily="34" charset="0"/>
            </a:endParaRPr>
          </a:p>
        </p:txBody>
      </p:sp>
      <p:pic>
        <p:nvPicPr>
          <p:cNvPr id="47" name="Picture 18" descr="http://uopa.esngreece.gr/sites/uopa.esngreece.gr/files/events/images/plant-a-tree-1024x804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92" b="18276"/>
          <a:stretch/>
        </p:blipFill>
        <p:spPr bwMode="auto">
          <a:xfrm>
            <a:off x="6672686" y="4479265"/>
            <a:ext cx="1150018" cy="56281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1" descr="http://genesishrsolutions.com/wpr/wp-content/uploads/2015/01/satisfied-employee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11" b="25614"/>
          <a:stretch/>
        </p:blipFill>
        <p:spPr bwMode="auto">
          <a:xfrm>
            <a:off x="6672687" y="5042075"/>
            <a:ext cx="1150018" cy="51271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0" name="Straight Connector 49"/>
          <p:cNvCxnSpPr/>
          <p:nvPr/>
        </p:nvCxnSpPr>
        <p:spPr>
          <a:xfrm flipH="1">
            <a:off x="6393434" y="2105417"/>
            <a:ext cx="4212000" cy="27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H="1">
            <a:off x="6393434" y="3172711"/>
            <a:ext cx="4212000" cy="27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H="1">
            <a:off x="6586588" y="4311387"/>
            <a:ext cx="4212000" cy="278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1535256" y="4583329"/>
            <a:ext cx="40794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Research Question: </a:t>
            </a:r>
            <a:r>
              <a:rPr lang="en-US" sz="2000" dirty="0" smtClean="0"/>
              <a:t>Which CSR activity has the greatest impact on consumers and investors? </a:t>
            </a:r>
            <a:endParaRPr lang="en-US" sz="2000" dirty="0"/>
          </a:p>
        </p:txBody>
      </p:sp>
      <p:sp>
        <p:nvSpPr>
          <p:cNvPr id="57" name="Rechteck 7"/>
          <p:cNvSpPr/>
          <p:nvPr/>
        </p:nvSpPr>
        <p:spPr bwMode="gray">
          <a:xfrm>
            <a:off x="1106902" y="4489020"/>
            <a:ext cx="4732421" cy="121332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Isosceles Triangle 2"/>
          <p:cNvSpPr/>
          <p:nvPr/>
        </p:nvSpPr>
        <p:spPr bwMode="gray">
          <a:xfrm rot="5400000">
            <a:off x="626187" y="4969735"/>
            <a:ext cx="1213322" cy="251891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325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34"/>
          <p:cNvSpPr>
            <a:spLocks noChangeArrowheads="1"/>
          </p:cNvSpPr>
          <p:nvPr/>
        </p:nvSpPr>
        <p:spPr bwMode="gray">
          <a:xfrm>
            <a:off x="395732" y="139920"/>
            <a:ext cx="1117062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en-US" sz="2400" b="1" dirty="0" smtClean="0">
                <a:cs typeface="Arial" panose="020B0604020202020204" pitchFamily="34" charset="0"/>
              </a:rPr>
              <a:t>EXEMPLARY RESEARCH ON THE CONSEQUENCES OF CSR ACTIVITIES</a:t>
            </a:r>
            <a:endParaRPr lang="en-US" sz="2400" b="1" i="1" dirty="0">
              <a:cs typeface="Arial" panose="020B06040202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9168678"/>
              </p:ext>
            </p:extLst>
          </p:nvPr>
        </p:nvGraphicFramePr>
        <p:xfrm>
          <a:off x="1681761" y="1071965"/>
          <a:ext cx="9002282" cy="4879659"/>
        </p:xfrm>
        <a:graphic>
          <a:graphicData uri="http://schemas.openxmlformats.org/drawingml/2006/table">
            <a:tbl>
              <a:tblPr/>
              <a:tblGrid>
                <a:gridCol w="2452796">
                  <a:extLst>
                    <a:ext uri="{9D8B030D-6E8A-4147-A177-3AD203B41FA5}">
                      <a16:colId xmlns:a16="http://schemas.microsoft.com/office/drawing/2014/main" val="589638375"/>
                    </a:ext>
                  </a:extLst>
                </a:gridCol>
                <a:gridCol w="1591708">
                  <a:extLst>
                    <a:ext uri="{9D8B030D-6E8A-4147-A177-3AD203B41FA5}">
                      <a16:colId xmlns:a16="http://schemas.microsoft.com/office/drawing/2014/main" val="3632072261"/>
                    </a:ext>
                  </a:extLst>
                </a:gridCol>
                <a:gridCol w="1843945">
                  <a:extLst>
                    <a:ext uri="{9D8B030D-6E8A-4147-A177-3AD203B41FA5}">
                      <a16:colId xmlns:a16="http://schemas.microsoft.com/office/drawing/2014/main" val="1714988523"/>
                    </a:ext>
                  </a:extLst>
                </a:gridCol>
                <a:gridCol w="1843945">
                  <a:extLst>
                    <a:ext uri="{9D8B030D-6E8A-4147-A177-3AD203B41FA5}">
                      <a16:colId xmlns:a16="http://schemas.microsoft.com/office/drawing/2014/main" val="98785056"/>
                    </a:ext>
                  </a:extLst>
                </a:gridCol>
                <a:gridCol w="1269888">
                  <a:extLst>
                    <a:ext uri="{9D8B030D-6E8A-4147-A177-3AD203B41FA5}">
                      <a16:colId xmlns:a16="http://schemas.microsoft.com/office/drawing/2014/main" val="3094754941"/>
                    </a:ext>
                  </a:extLst>
                </a:gridCol>
              </a:tblGrid>
              <a:tr h="30587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uthor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utcome 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variable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Focal 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oderation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mpirical 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esign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3802258"/>
                  </a:ext>
                </a:extLst>
              </a:tr>
              <a:tr h="60223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nsumer-related</a:t>
                      </a:r>
                      <a:b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e.g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, attitude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Finance-related</a:t>
                      </a:r>
                      <a:b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e.g., stock return)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Types of CSR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6552818"/>
                  </a:ext>
                </a:extLst>
              </a:tr>
              <a:tr h="26882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rown &amp; </a:t>
                      </a:r>
                      <a:r>
                        <a:rPr lang="en-US" sz="13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acin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997 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xperiment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6441804"/>
                  </a:ext>
                </a:extLst>
              </a:tr>
              <a:tr h="4910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Kennedy, Ferrell, &amp;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3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LeClair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01 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xperiment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72005925"/>
                  </a:ext>
                </a:extLst>
              </a:tr>
              <a:tr h="26882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en &amp; Bhattacharya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01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xperiment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3748832"/>
                  </a:ext>
                </a:extLst>
              </a:tr>
              <a:tr h="26882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adrigal &amp; </a:t>
                      </a:r>
                      <a:r>
                        <a:rPr lang="en-US" sz="13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oush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08 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xperiment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75078350"/>
                  </a:ext>
                </a:extLst>
              </a:tr>
              <a:tr h="4910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lsen,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lotegraaf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&amp;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3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handukala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bservational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1826328"/>
                  </a:ext>
                </a:extLst>
              </a:tr>
              <a:tr h="49109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Hildebrand,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emotta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Sen,</a:t>
                      </a:r>
                      <a:b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&amp; Valenzuela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17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xperiment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484908"/>
                  </a:ext>
                </a:extLst>
              </a:tr>
              <a:tr h="4910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Wright, Ferris,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Hiller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&amp;</a:t>
                      </a:r>
                      <a:r>
                        <a:rPr lang="en-US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Kroll 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995 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bservational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6834793"/>
                  </a:ext>
                </a:extLst>
              </a:tr>
              <a:tr h="2688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uller &amp; </a:t>
                      </a:r>
                      <a:r>
                        <a:rPr lang="en-US" sz="13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Kräussl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11 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bservational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4606795"/>
                  </a:ext>
                </a:extLst>
              </a:tr>
              <a:tr h="2688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Groening &amp;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Kanuri 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13 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bservational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4858148"/>
                  </a:ext>
                </a:extLst>
              </a:tr>
              <a:tr h="2688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Flammer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2013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bservational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9976989"/>
                  </a:ext>
                </a:extLst>
              </a:tr>
              <a:tr h="39419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This study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✔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bservational</a:t>
                      </a:r>
                    </a:p>
                  </a:txBody>
                  <a:tcPr marL="7829" marR="7829" marT="7829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6989752"/>
                  </a:ext>
                </a:extLst>
              </a:tr>
            </a:tbl>
          </a:graphicData>
        </a:graphic>
      </p:graphicFrame>
      <p:sp>
        <p:nvSpPr>
          <p:cNvPr id="20" name="Abgerundetes Rechteck 8"/>
          <p:cNvSpPr/>
          <p:nvPr/>
        </p:nvSpPr>
        <p:spPr>
          <a:xfrm>
            <a:off x="1681761" y="1989221"/>
            <a:ext cx="9002282" cy="2277979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Abgerundetes Rechteck 8"/>
          <p:cNvSpPr/>
          <p:nvPr/>
        </p:nvSpPr>
        <p:spPr>
          <a:xfrm>
            <a:off x="1681761" y="4267200"/>
            <a:ext cx="9002282" cy="129941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Abgerundetes Rechteck 8"/>
          <p:cNvSpPr/>
          <p:nvPr/>
        </p:nvSpPr>
        <p:spPr>
          <a:xfrm>
            <a:off x="1681761" y="5494425"/>
            <a:ext cx="9002282" cy="457199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792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0" grpId="1" animBg="1"/>
      <p:bldP spid="21" grpId="0" animBg="1"/>
      <p:bldP spid="21" grpId="1" animBg="1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Bildergebnis für united airlines logo"/>
          <p:cNvSpPr>
            <a:spLocks noChangeAspect="1" noChangeArrowheads="1"/>
          </p:cNvSpPr>
          <p:nvPr/>
        </p:nvSpPr>
        <p:spPr bwMode="auto">
          <a:xfrm>
            <a:off x="155575" y="-563563"/>
            <a:ext cx="6400800" cy="1181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Rectangle 34"/>
          <p:cNvSpPr>
            <a:spLocks noChangeArrowheads="1"/>
          </p:cNvSpPr>
          <p:nvPr/>
        </p:nvSpPr>
        <p:spPr bwMode="gray">
          <a:xfrm>
            <a:off x="395732" y="139920"/>
            <a:ext cx="1117062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2400" b="1" dirty="0" smtClean="0">
                <a:cs typeface="Arial" panose="020B0604020202020204" pitchFamily="34" charset="0"/>
              </a:rPr>
              <a:t>CONCEPTUAL FRAMEWORK</a:t>
            </a:r>
            <a:endParaRPr lang="en-US" sz="2400" b="1" i="1" dirty="0">
              <a:cs typeface="Arial" panose="020B0604020202020204" pitchFamily="34" charset="0"/>
            </a:endParaRPr>
          </a:p>
        </p:txBody>
      </p:sp>
      <p:sp>
        <p:nvSpPr>
          <p:cNvPr id="25" name="Abgerundetes Rechteck 3"/>
          <p:cNvSpPr>
            <a:spLocks noChangeArrowheads="1"/>
          </p:cNvSpPr>
          <p:nvPr/>
        </p:nvSpPr>
        <p:spPr bwMode="auto">
          <a:xfrm>
            <a:off x="553515" y="3534307"/>
            <a:ext cx="1437251" cy="782522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400" b="1" dirty="0">
                <a:cs typeface="Times New Roman" panose="02020603050405020304" pitchFamily="18" charset="0"/>
              </a:rPr>
              <a:t>CSR</a:t>
            </a:r>
            <a:br>
              <a:rPr lang="en-US" sz="2400" b="1" dirty="0">
                <a:cs typeface="Times New Roman" panose="02020603050405020304" pitchFamily="18" charset="0"/>
              </a:rPr>
            </a:br>
            <a:r>
              <a:rPr lang="en-US" sz="2400" b="1" dirty="0">
                <a:cs typeface="Times New Roman" panose="02020603050405020304" pitchFamily="18" charset="0"/>
              </a:rPr>
              <a:t>activities</a:t>
            </a:r>
          </a:p>
        </p:txBody>
      </p:sp>
      <p:sp>
        <p:nvSpPr>
          <p:cNvPr id="26" name="Abgerundetes Rechteck 42"/>
          <p:cNvSpPr/>
          <p:nvPr/>
        </p:nvSpPr>
        <p:spPr>
          <a:xfrm>
            <a:off x="1990766" y="1100258"/>
            <a:ext cx="3030411" cy="1803671"/>
          </a:xfrm>
          <a:prstGeom prst="roundRect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square" rtlCol="0" anchor="t">
            <a:noAutofit/>
          </a:bodyPr>
          <a:lstStyle/>
          <a:p>
            <a:pPr>
              <a:spcAft>
                <a:spcPts val="0"/>
              </a:spcAft>
            </a:pPr>
            <a:r>
              <a:rPr lang="en-US" sz="2400" b="1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 CSR characteristics</a:t>
            </a:r>
            <a:endParaRPr lang="en-US" dirty="0" smtClean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CSR type I:  Time horizon</a:t>
            </a:r>
            <a:endParaRPr lang="en-US" sz="2800" dirty="0" smtClean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CSR type II: Target groups</a:t>
            </a:r>
            <a:endParaRPr lang="en-US" sz="2800" dirty="0" smtClean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CSR type III: Action type</a:t>
            </a:r>
            <a:endParaRPr lang="en-US" sz="2800" dirty="0" smtClean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CSR type IV: Region</a:t>
            </a:r>
            <a:endParaRPr lang="en-US" sz="2800" dirty="0" smtClean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Media presence</a:t>
            </a:r>
            <a:r>
              <a:rPr lang="en-US" sz="1600" kern="1200" dirty="0" smtClean="0">
                <a:solidFill>
                  <a:srgbClr val="000000"/>
                </a:solidFill>
                <a:effectLst/>
                <a:ea typeface="MS Mincho"/>
                <a:cs typeface="Arial" panose="020B0604020202020204" pitchFamily="34" charset="0"/>
              </a:rPr>
              <a:t> </a:t>
            </a:r>
            <a:endParaRPr lang="en-US" sz="1600" dirty="0">
              <a:effectLst/>
              <a:ea typeface="MS Mincho"/>
              <a:cs typeface="Arial" panose="020B0604020202020204" pitchFamily="34" charset="0"/>
            </a:endParaRPr>
          </a:p>
        </p:txBody>
      </p:sp>
      <p:sp>
        <p:nvSpPr>
          <p:cNvPr id="27" name="Abgerundetes Rechteck 37"/>
          <p:cNvSpPr>
            <a:spLocks noChangeArrowheads="1"/>
          </p:cNvSpPr>
          <p:nvPr/>
        </p:nvSpPr>
        <p:spPr bwMode="auto">
          <a:xfrm>
            <a:off x="9482870" y="2709052"/>
            <a:ext cx="2249661" cy="2434738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ea typeface="MS Mincho"/>
                <a:cs typeface="Arial" panose="020B0604020202020204" pitchFamily="34" charset="0"/>
              </a:rPr>
              <a:t>    </a:t>
            </a:r>
            <a:r>
              <a:rPr kumimoji="0" lang="en-US" altLang="en-US" sz="1600" b="1" i="0" u="sng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ea typeface="MS Mincho"/>
                <a:cs typeface="Arial" panose="020B0604020202020204" pitchFamily="34" charset="0"/>
              </a:rPr>
              <a:t>Controls variables</a:t>
            </a:r>
            <a:endParaRPr kumimoji="0" lang="en-US" altLang="en-US" sz="16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MS Mincho"/>
              <a:cs typeface="Arial" panose="020B0604020202020204" pitchFamily="34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Prior brand reputation </a:t>
            </a:r>
            <a:endParaRPr lang="en-US" sz="2800" dirty="0" smtClean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Product type </a:t>
            </a:r>
            <a:endParaRPr lang="en-US" sz="2800" dirty="0" smtClean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Operating margins </a:t>
            </a:r>
            <a:endParaRPr lang="en-US" sz="2800" dirty="0" smtClean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Financial leverage</a:t>
            </a: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Calibri" panose="020F0502020204030204" pitchFamily="34" charset="0"/>
              </a:rPr>
              <a:t>Market value of equity</a:t>
            </a:r>
            <a:endParaRPr kumimoji="0" lang="en-US" alt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</p:txBody>
      </p:sp>
      <p:cxnSp>
        <p:nvCxnSpPr>
          <p:cNvPr id="28" name="Gerade Verbindung mit Pfeil 8"/>
          <p:cNvCxnSpPr>
            <a:stCxn id="25" idx="3"/>
            <a:endCxn id="30" idx="1"/>
          </p:cNvCxnSpPr>
          <p:nvPr/>
        </p:nvCxnSpPr>
        <p:spPr>
          <a:xfrm>
            <a:off x="1990766" y="3925568"/>
            <a:ext cx="3520591" cy="1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grpSp>
        <p:nvGrpSpPr>
          <p:cNvPr id="29" name="Group 28"/>
          <p:cNvGrpSpPr/>
          <p:nvPr/>
        </p:nvGrpSpPr>
        <p:grpSpPr>
          <a:xfrm>
            <a:off x="5511357" y="2172232"/>
            <a:ext cx="3397563" cy="3506674"/>
            <a:chOff x="6297420" y="2169023"/>
            <a:chExt cx="3397563" cy="2171028"/>
          </a:xfrm>
        </p:grpSpPr>
        <p:sp>
          <p:nvSpPr>
            <p:cNvPr id="30" name="Abgerundetes Rechteck 3"/>
            <p:cNvSpPr>
              <a:spLocks noChangeArrowheads="1"/>
            </p:cNvSpPr>
            <p:nvPr/>
          </p:nvSpPr>
          <p:spPr bwMode="auto">
            <a:xfrm>
              <a:off x="6297420" y="2169023"/>
              <a:ext cx="3397563" cy="2171028"/>
            </a:xfrm>
            <a:prstGeom prst="roundRect">
              <a:avLst>
                <a:gd name="adj" fmla="val 16667"/>
              </a:avLst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cs typeface="Arial" panose="020B0604020202020204" pitchFamily="34" charset="0"/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6514663" y="2294055"/>
              <a:ext cx="2963076" cy="1820006"/>
              <a:chOff x="6514664" y="2092557"/>
              <a:chExt cx="2963076" cy="1820006"/>
            </a:xfrm>
          </p:grpSpPr>
          <p:sp>
            <p:nvSpPr>
              <p:cNvPr id="32" name="Abgerundetes Rechteck 42"/>
              <p:cNvSpPr/>
              <p:nvPr/>
            </p:nvSpPr>
            <p:spPr>
              <a:xfrm>
                <a:off x="6514664" y="2092557"/>
                <a:ext cx="2963076" cy="833989"/>
              </a:xfrm>
              <a:prstGeom prst="roundRect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lgDashDot"/>
              </a:ln>
              <a:effectLst/>
            </p:spPr>
            <p:txBody>
              <a:bodyPr wrap="square" rtlCol="0" anchor="t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b="1" dirty="0" smtClean="0">
                    <a:solidFill>
                      <a:srgbClr val="000000"/>
                    </a:solidFill>
                    <a:ea typeface="MS Mincho"/>
                    <a:cs typeface="Arial" panose="020B0604020202020204" pitchFamily="34" charset="0"/>
                  </a:rPr>
                  <a:t>Consumer Brand Perception</a:t>
                </a:r>
              </a:p>
            </p:txBody>
          </p:sp>
          <p:sp>
            <p:nvSpPr>
              <p:cNvPr id="33" name="Abgerundetes Rechteck 42"/>
              <p:cNvSpPr/>
              <p:nvPr/>
            </p:nvSpPr>
            <p:spPr>
              <a:xfrm>
                <a:off x="6514664" y="3324940"/>
                <a:ext cx="2963076" cy="587623"/>
              </a:xfrm>
              <a:prstGeom prst="roundRect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dashDot"/>
              </a:ln>
              <a:effectLst/>
            </p:spPr>
            <p:txBody>
              <a:bodyPr wrap="square" rtlCol="0" anchor="t">
                <a:noAutofit/>
              </a:bodyPr>
              <a:lstStyle/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b="1" dirty="0" smtClean="0">
                    <a:effectLst/>
                    <a:ea typeface="MS Mincho"/>
                    <a:cs typeface="Arial" panose="020B0604020202020204" pitchFamily="34" charset="0"/>
                  </a:rPr>
                  <a:t>Shareholder Perception </a:t>
                </a:r>
              </a:p>
              <a:p>
                <a:pPr algn="ctr"/>
                <a:endParaRPr lang="en-US" sz="1600" dirty="0" smtClean="0">
                  <a:cs typeface="Arial" panose="020B0604020202020204" pitchFamily="34" charset="0"/>
                </a:endParaRPr>
              </a:p>
              <a:p>
                <a:pPr algn="ctr"/>
                <a:r>
                  <a:rPr lang="en-US" sz="1600" dirty="0" smtClean="0">
                    <a:cs typeface="Arial" panose="020B0604020202020204" pitchFamily="34" charset="0"/>
                  </a:rPr>
                  <a:t>Stock Return</a:t>
                </a:r>
              </a:p>
              <a:p>
                <a:pPr marL="0" marR="0"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effectLst/>
                  <a:ea typeface="MS Mincho"/>
                  <a:cs typeface="Arial" panose="020B0604020202020204" pitchFamily="34" charset="0"/>
                </a:endParaRPr>
              </a:p>
            </p:txBody>
          </p:sp>
          <p:cxnSp>
            <p:nvCxnSpPr>
              <p:cNvPr id="35" name="Gerade Verbindung mit Pfeil 8"/>
              <p:cNvCxnSpPr>
                <a:stCxn id="32" idx="2"/>
                <a:endCxn id="33" idx="0"/>
              </p:cNvCxnSpPr>
              <p:nvPr/>
            </p:nvCxnSpPr>
            <p:spPr>
              <a:xfrm>
                <a:off x="7996202" y="2926546"/>
                <a:ext cx="0" cy="398393"/>
              </a:xfrm>
              <a:prstGeom prst="straightConnector1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tailEnd type="arrow"/>
              </a:ln>
              <a:effectLst/>
            </p:spPr>
          </p:cxnSp>
        </p:grpSp>
      </p:grpSp>
      <p:cxnSp>
        <p:nvCxnSpPr>
          <p:cNvPr id="36" name="Gerade Verbindung mit Pfeil 45"/>
          <p:cNvCxnSpPr/>
          <p:nvPr/>
        </p:nvCxnSpPr>
        <p:spPr>
          <a:xfrm flipH="1">
            <a:off x="3476625" y="2921230"/>
            <a:ext cx="2445" cy="832669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37" name="Gerade Verbindung mit Pfeil 45"/>
          <p:cNvCxnSpPr>
            <a:stCxn id="27" idx="1"/>
            <a:endCxn id="30" idx="3"/>
          </p:cNvCxnSpPr>
          <p:nvPr/>
        </p:nvCxnSpPr>
        <p:spPr>
          <a:xfrm flipH="1" flipV="1">
            <a:off x="8908920" y="3925569"/>
            <a:ext cx="573950" cy="852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38" name="Rechteck 28"/>
          <p:cNvSpPr/>
          <p:nvPr/>
        </p:nvSpPr>
        <p:spPr>
          <a:xfrm>
            <a:off x="5647178" y="1769730"/>
            <a:ext cx="3125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400" b="1" kern="1200" dirty="0" smtClean="0">
                <a:solidFill>
                  <a:srgbClr val="000000"/>
                </a:solidFill>
                <a:effectLst/>
                <a:ea typeface="MS Mincho"/>
                <a:cs typeface="Arial" panose="020B0604020202020204" pitchFamily="34" charset="0"/>
              </a:rPr>
              <a:t>Performance measures</a:t>
            </a:r>
            <a:endParaRPr lang="en-US" sz="2400" dirty="0">
              <a:effectLst/>
              <a:ea typeface="MS Mincho"/>
              <a:cs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752298" y="2696989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0385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Impression</a:t>
            </a:r>
            <a:endParaRPr lang="en-US" sz="1600" dirty="0" smtClean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0385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Quality</a:t>
            </a:r>
            <a:endParaRPr lang="en-US" sz="1600" dirty="0" smtClean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0385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Value</a:t>
            </a:r>
            <a:endParaRPr lang="en-US" sz="1600" dirty="0">
              <a:effectLst/>
              <a:ea typeface="MS Mincho"/>
              <a:cs typeface="Times New Roman" panose="02020603050405020304" pitchFamily="18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053464" y="2714231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Reputation</a:t>
            </a:r>
            <a:endParaRPr lang="en-US" sz="1600" dirty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Satisfaction</a:t>
            </a:r>
            <a:endParaRPr lang="en-US" sz="1600" dirty="0">
              <a:ea typeface="MS Mincho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" algn="l"/>
              </a:tabLst>
            </a:pPr>
            <a:r>
              <a:rPr lang="en-US" sz="1600" dirty="0" smtClean="0">
                <a:solidFill>
                  <a:srgbClr val="000000"/>
                </a:solidFill>
                <a:ea typeface="MS Mincho"/>
                <a:cs typeface="Times New Roman" panose="02020603050405020304" pitchFamily="18" charset="0"/>
              </a:rPr>
              <a:t>Recommend</a:t>
            </a:r>
            <a:endParaRPr lang="en-US" sz="1600" dirty="0">
              <a:effectLst/>
              <a:ea typeface="MS Mincho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699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" name="Tabel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0757490"/>
              </p:ext>
            </p:extLst>
          </p:nvPr>
        </p:nvGraphicFramePr>
        <p:xfrm>
          <a:off x="962526" y="1395499"/>
          <a:ext cx="4221933" cy="1282959"/>
        </p:xfrm>
        <a:graphic>
          <a:graphicData uri="http://schemas.openxmlformats.org/drawingml/2006/table">
            <a:tbl>
              <a:tblPr/>
              <a:tblGrid>
                <a:gridCol w="26060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59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3597">
                <a:tc gridSpan="2">
                  <a:txBody>
                    <a:bodyPr/>
                    <a:lstStyle/>
                    <a:p>
                      <a:pPr algn="l" fontAlgn="b"/>
                      <a:r>
                        <a:rPr lang="de-DE" sz="150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CSR</a:t>
                      </a:r>
                      <a:r>
                        <a:rPr lang="de-DE" sz="1500" b="1" i="0" u="none" strike="noStrike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activities identified through media analysis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099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Time Frame</a:t>
                      </a:r>
                      <a:endParaRPr lang="en-US" sz="15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 01.2008</a:t>
                      </a:r>
                      <a:r>
                        <a:rPr lang="de-DE" sz="15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– 03.2015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2942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Brands analyzed</a:t>
                      </a:r>
                      <a:endParaRPr lang="en-US" sz="15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00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7172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Newspapers</a:t>
                      </a:r>
                      <a:r>
                        <a:rPr lang="en-US" sz="1500" b="0" i="0" u="none" strike="noStrike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analyzed</a:t>
                      </a:r>
                      <a:endParaRPr lang="en-US" sz="15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947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Country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Germany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993">
                <a:tc>
                  <a:txBody>
                    <a:bodyPr/>
                    <a:lstStyle/>
                    <a:p>
                      <a:pPr algn="l" fontAlgn="b"/>
                      <a:endParaRPr lang="en-US" sz="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40" name="Tabelle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1318735"/>
              </p:ext>
            </p:extLst>
          </p:nvPr>
        </p:nvGraphicFramePr>
        <p:xfrm>
          <a:off x="962526" y="2951798"/>
          <a:ext cx="4221933" cy="1521460"/>
        </p:xfrm>
        <a:graphic>
          <a:graphicData uri="http://schemas.openxmlformats.org/drawingml/2006/table">
            <a:tbl>
              <a:tblPr/>
              <a:tblGrid>
                <a:gridCol w="2613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83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42522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500" b="1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Number</a:t>
                      </a:r>
                      <a:r>
                        <a:rPr lang="en-US" sz="1500" b="1" i="0" u="none" strike="noStrike" baseline="0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of CSR events in </a:t>
                      </a:r>
                      <a:r>
                        <a:rPr lang="de-DE" sz="15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sample</a:t>
                      </a:r>
                      <a:endParaRPr lang="de-DE" sz="15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195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Total CSR events</a:t>
                      </a:r>
                      <a:endParaRPr lang="en-US" sz="15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98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2522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Confounding </a:t>
                      </a:r>
                      <a:r>
                        <a:rPr lang="en-US" sz="15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events</a:t>
                      </a:r>
                      <a:endParaRPr lang="en-US" sz="15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15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2522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ndustries</a:t>
                      </a:r>
                      <a:endParaRPr lang="en-US" sz="15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2</a:t>
                      </a:r>
                      <a:endParaRPr lang="de-DE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252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Final events in dataset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83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252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Final </a:t>
                      </a:r>
                      <a:r>
                        <a:rPr lang="de-DE" sz="1500" b="0" i="0" u="none" strike="noStrike" noProof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brands</a:t>
                      </a:r>
                      <a:r>
                        <a:rPr lang="de-DE" sz="1500" b="0" i="0" u="none" strike="noStrike" noProof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in </a:t>
                      </a:r>
                      <a:r>
                        <a:rPr lang="de-DE" sz="1500" b="0" i="0" u="none" strike="noStrike" noProof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dataset</a:t>
                      </a:r>
                      <a:endParaRPr lang="en-US" sz="15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7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507">
                <a:tc>
                  <a:txBody>
                    <a:bodyPr/>
                    <a:lstStyle/>
                    <a:p>
                      <a:pPr algn="l" fontAlgn="b"/>
                      <a:endParaRPr lang="en-US" sz="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1" name="Rectangle 34"/>
          <p:cNvSpPr>
            <a:spLocks noChangeArrowheads="1"/>
          </p:cNvSpPr>
          <p:nvPr/>
        </p:nvSpPr>
        <p:spPr bwMode="gray">
          <a:xfrm>
            <a:off x="395732" y="139920"/>
            <a:ext cx="1117062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 sz="20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34"/>
          <p:cNvSpPr>
            <a:spLocks noChangeArrowheads="1"/>
          </p:cNvSpPr>
          <p:nvPr/>
        </p:nvSpPr>
        <p:spPr bwMode="gray">
          <a:xfrm>
            <a:off x="548132" y="292320"/>
            <a:ext cx="1117062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2400" b="1" dirty="0" smtClean="0">
                <a:cs typeface="Arial" panose="020B0604020202020204" pitchFamily="34" charset="0"/>
              </a:rPr>
              <a:t>DATA AND METHODOLOGY</a:t>
            </a:r>
            <a:endParaRPr lang="en-US" sz="2400" b="1" i="1" dirty="0">
              <a:cs typeface="Arial" panose="020B06040202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2708448"/>
              </p:ext>
            </p:extLst>
          </p:nvPr>
        </p:nvGraphicFramePr>
        <p:xfrm>
          <a:off x="1001800" y="4706476"/>
          <a:ext cx="4143383" cy="1657350"/>
        </p:xfrm>
        <a:graphic>
          <a:graphicData uri="http://schemas.openxmlformats.org/drawingml/2006/table">
            <a:tbl>
              <a:tblPr/>
              <a:tblGrid>
                <a:gridCol w="4143383">
                  <a:extLst>
                    <a:ext uri="{9D8B030D-6E8A-4147-A177-3AD203B41FA5}">
                      <a16:colId xmlns:a16="http://schemas.microsoft.com/office/drawing/2014/main" val="855607215"/>
                    </a:ext>
                  </a:extLst>
                </a:gridCol>
              </a:tblGrid>
              <a:tr h="116327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and</a:t>
                      </a:r>
                      <a:r>
                        <a:rPr lang="en-US" sz="15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erception data received from </a:t>
                      </a:r>
                      <a:r>
                        <a:rPr lang="en-US" sz="15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ouGov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8885642"/>
                  </a:ext>
                </a:extLst>
              </a:tr>
              <a:tr h="116327">
                <a:tc>
                  <a:txBody>
                    <a:bodyPr/>
                    <a:lstStyle/>
                    <a:p>
                      <a:pPr marL="0" indent="0" algn="ctr" fontAlgn="ctr">
                        <a:buFont typeface="Arial" panose="020B0604020202020204" pitchFamily="34" charset="0"/>
                        <a:buNone/>
                      </a:pPr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Weekly</a:t>
                      </a:r>
                      <a:r>
                        <a:rPr lang="de-DE" sz="15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data based on 600 respondents per brand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12803"/>
                  </a:ext>
                </a:extLst>
              </a:tr>
              <a:tr h="116327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- Ranges from 100 (negative) to 300 (positive) 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38324"/>
                  </a:ext>
                </a:extLst>
              </a:tr>
              <a:tr h="1584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- Data from pos/neg responses to 6 questions 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1927646"/>
                  </a:ext>
                </a:extLst>
              </a:tr>
              <a:tr h="2280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- Overall brand perception combines</a:t>
                      </a:r>
                      <a:r>
                        <a:rPr lang="de-DE" sz="15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6 variables </a:t>
                      </a:r>
                      <a:br>
                        <a:rPr lang="de-DE" sz="15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5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(e.g., impression, quality perception, etc.) 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2926439"/>
                  </a:ext>
                </a:extLst>
              </a:tr>
              <a:tr h="140709">
                <a:tc>
                  <a:txBody>
                    <a:bodyPr/>
                    <a:lstStyle/>
                    <a:p>
                      <a:pPr algn="l" fontAlgn="ctr"/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344182"/>
                  </a:ext>
                </a:extLst>
              </a:tr>
            </a:tbl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5807241" y="1126260"/>
            <a:ext cx="0" cy="529134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1001800" y="6417609"/>
            <a:ext cx="414338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5" name="Picture 17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7318" y="1440219"/>
            <a:ext cx="4068598" cy="2099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feld 4"/>
          <p:cNvSpPr txBox="1"/>
          <p:nvPr/>
        </p:nvSpPr>
        <p:spPr bwMode="gray">
          <a:xfrm>
            <a:off x="7283116" y="1911420"/>
            <a:ext cx="963724" cy="267688"/>
          </a:xfrm>
          <a:prstGeom prst="rect">
            <a:avLst/>
          </a:prstGeom>
          <a:solidFill>
            <a:schemeClr val="lt1"/>
          </a:solidFill>
          <a:ln w="9525" cmpd="sng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/>
              <a:t>CSR Activity</a:t>
            </a:r>
            <a:endParaRPr lang="en-US" sz="1200" dirty="0"/>
          </a:p>
        </p:txBody>
      </p:sp>
      <p:cxnSp>
        <p:nvCxnSpPr>
          <p:cNvPr id="38" name="Gerade Verbindung mit Pfeil 30"/>
          <p:cNvCxnSpPr/>
          <p:nvPr/>
        </p:nvCxnSpPr>
        <p:spPr bwMode="gray">
          <a:xfrm>
            <a:off x="8424619" y="1974264"/>
            <a:ext cx="353995" cy="106101"/>
          </a:xfrm>
          <a:prstGeom prst="straightConnector1">
            <a:avLst/>
          </a:prstGeom>
          <a:ln w="19050">
            <a:solidFill>
              <a:sysClr val="windowText" lastClr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13"/>
          <p:cNvSpPr/>
          <p:nvPr/>
        </p:nvSpPr>
        <p:spPr bwMode="gray">
          <a:xfrm>
            <a:off x="6567318" y="3695687"/>
            <a:ext cx="4068598" cy="13217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hteck 20"/>
          <p:cNvSpPr/>
          <p:nvPr/>
        </p:nvSpPr>
        <p:spPr bwMode="gray">
          <a:xfrm>
            <a:off x="6567318" y="5219695"/>
            <a:ext cx="4068598" cy="11979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hteck 17"/>
          <p:cNvSpPr/>
          <p:nvPr/>
        </p:nvSpPr>
        <p:spPr bwMode="gray">
          <a:xfrm>
            <a:off x="6567318" y="3695688"/>
            <a:ext cx="5472684" cy="1577355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1617663" algn="l"/>
              </a:tabLst>
              <a:defRPr/>
            </a:pPr>
            <a:r>
              <a:rPr lang="en-US" sz="1400" b="1" dirty="0" smtClean="0"/>
              <a:t>Brand Perception (weekly)</a:t>
            </a:r>
          </a:p>
          <a:p>
            <a:pPr marL="177800" indent="-17780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617663" algn="l"/>
              </a:tabLst>
              <a:defRPr/>
            </a:pPr>
            <a:r>
              <a:rPr lang="en-US" sz="1400" dirty="0" smtClean="0"/>
              <a:t>Estimation window:	 20 weeks </a:t>
            </a:r>
          </a:p>
          <a:p>
            <a:pPr marL="177800" indent="-17780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617663" algn="l"/>
              </a:tabLst>
              <a:defRPr/>
            </a:pPr>
            <a:r>
              <a:rPr lang="en-US" sz="1400" dirty="0" smtClean="0"/>
              <a:t>Event window:	   1 week   </a:t>
            </a:r>
          </a:p>
          <a:p>
            <a:pPr marL="177800" indent="-17780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617663" algn="l"/>
              </a:tabLst>
              <a:defRPr/>
            </a:pPr>
            <a:r>
              <a:rPr lang="en-US" sz="1400" dirty="0" smtClean="0"/>
              <a:t>Constant-mean-return model (Stationarity: </a:t>
            </a:r>
            <a:br>
              <a:rPr lang="en-US" sz="1400" dirty="0" smtClean="0"/>
            </a:br>
            <a:r>
              <a:rPr lang="en-US" sz="1400" dirty="0" smtClean="0"/>
              <a:t>Dickey Fuller test statistic = 14.823)</a:t>
            </a:r>
          </a:p>
          <a:p>
            <a:pPr marL="177800" indent="-17780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617663" algn="l"/>
              </a:tabLst>
              <a:defRPr/>
            </a:pPr>
            <a:endParaRPr lang="en-US" sz="14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6866582" y="1541939"/>
            <a:ext cx="3470067" cy="2184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Brand Perception or Stock Retur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115574" y="959159"/>
            <a:ext cx="28969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1617663" algn="l"/>
              </a:tabLst>
              <a:defRPr/>
            </a:pPr>
            <a:r>
              <a:rPr lang="en-US" sz="2000" b="1" u="sng" dirty="0" smtClean="0"/>
              <a:t>Event study methodology</a:t>
            </a:r>
            <a:endParaRPr lang="en-US" sz="2000" b="1" u="sng" dirty="0"/>
          </a:p>
        </p:txBody>
      </p:sp>
      <p:sp>
        <p:nvSpPr>
          <p:cNvPr id="45" name="Rectangle 44"/>
          <p:cNvSpPr/>
          <p:nvPr/>
        </p:nvSpPr>
        <p:spPr>
          <a:xfrm>
            <a:off x="1835118" y="922104"/>
            <a:ext cx="24273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1617663" algn="l"/>
              </a:tabLst>
              <a:defRPr/>
            </a:pPr>
            <a:r>
              <a:rPr lang="en-US" sz="2000" b="1" u="sng" dirty="0" smtClean="0"/>
              <a:t>Overview of the data</a:t>
            </a:r>
            <a:endParaRPr lang="en-US" sz="2000" b="1" u="sng" dirty="0"/>
          </a:p>
        </p:txBody>
      </p:sp>
      <p:sp>
        <p:nvSpPr>
          <p:cNvPr id="46" name="Rechteck 17"/>
          <p:cNvSpPr/>
          <p:nvPr/>
        </p:nvSpPr>
        <p:spPr bwMode="gray">
          <a:xfrm>
            <a:off x="6567318" y="5226495"/>
            <a:ext cx="5472684" cy="1577355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1617663" algn="l"/>
              </a:tabLst>
              <a:defRPr/>
            </a:pPr>
            <a:r>
              <a:rPr lang="en-US" sz="1400" b="1" dirty="0" smtClean="0"/>
              <a:t>Stock Price Data (daily)</a:t>
            </a:r>
          </a:p>
          <a:p>
            <a:pPr marL="177800" indent="-17780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617663" algn="l"/>
              </a:tabLst>
              <a:defRPr/>
            </a:pPr>
            <a:r>
              <a:rPr lang="en-US" sz="1400" dirty="0" smtClean="0"/>
              <a:t>Estimation window:	 200 days</a:t>
            </a:r>
          </a:p>
          <a:p>
            <a:pPr marL="177800" indent="-17780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617663" algn="l"/>
              </a:tabLst>
              <a:defRPr/>
            </a:pPr>
            <a:r>
              <a:rPr lang="en-US" sz="1400" dirty="0" smtClean="0"/>
              <a:t>Event window:	  max 3 days   </a:t>
            </a:r>
          </a:p>
          <a:p>
            <a:pPr marL="177800" indent="-17780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617663" algn="l"/>
              </a:tabLst>
              <a:defRPr/>
            </a:pPr>
            <a:r>
              <a:rPr lang="en-US" sz="1400" dirty="0" smtClean="0"/>
              <a:t>Market-model</a:t>
            </a:r>
          </a:p>
          <a:p>
            <a:pPr>
              <a:spcBef>
                <a:spcPts val="300"/>
              </a:spcBef>
              <a:tabLst>
                <a:tab pos="1617663" algn="l"/>
              </a:tabLst>
              <a:defRPr/>
            </a:pPr>
            <a:endParaRPr lang="en-US" sz="1400" dirty="0" smtClean="0"/>
          </a:p>
          <a:p>
            <a:pPr marL="177800" indent="-17780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1617663" algn="l"/>
              </a:tabLst>
              <a:defRPr/>
            </a:pP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19034605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34"/>
          <p:cNvSpPr>
            <a:spLocks noChangeArrowheads="1"/>
          </p:cNvSpPr>
          <p:nvPr/>
        </p:nvSpPr>
        <p:spPr bwMode="gray">
          <a:xfrm>
            <a:off x="219270" y="139920"/>
            <a:ext cx="11796268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2400" b="1" dirty="0" smtClean="0">
                <a:cs typeface="Arial" panose="020B0604020202020204" pitchFamily="34" charset="0"/>
              </a:rPr>
              <a:t>MAIN IMPACT OF CSR ACTIVITIES ON BRAN PERCEPTION AND STOCK RETURN</a:t>
            </a:r>
            <a:endParaRPr lang="en-US" sz="2400" b="1" i="1" dirty="0">
              <a:cs typeface="Arial" panose="020B060402020202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4" name="Table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680342244"/>
                  </p:ext>
                </p:extLst>
              </p:nvPr>
            </p:nvGraphicFramePr>
            <p:xfrm>
              <a:off x="873039" y="1828040"/>
              <a:ext cx="4379497" cy="2689790"/>
            </p:xfrm>
            <a:graphic>
              <a:graphicData uri="http://schemas.openxmlformats.org/drawingml/2006/table">
                <a:tbl>
                  <a:tblPr firstRow="1" firstCol="1" bandRow="1"/>
                  <a:tblGrid>
                    <a:gridCol w="147888">
                      <a:extLst>
                        <a:ext uri="{9D8B030D-6E8A-4147-A177-3AD203B41FA5}">
                          <a16:colId xmlns:a16="http://schemas.microsoft.com/office/drawing/2014/main" val="4114009371"/>
                        </a:ext>
                      </a:extLst>
                    </a:gridCol>
                    <a:gridCol w="1327061">
                      <a:extLst>
                        <a:ext uri="{9D8B030D-6E8A-4147-A177-3AD203B41FA5}">
                          <a16:colId xmlns:a16="http://schemas.microsoft.com/office/drawing/2014/main" val="465997600"/>
                        </a:ext>
                      </a:extLst>
                    </a:gridCol>
                    <a:gridCol w="903110">
                      <a:extLst>
                        <a:ext uri="{9D8B030D-6E8A-4147-A177-3AD203B41FA5}">
                          <a16:colId xmlns:a16="http://schemas.microsoft.com/office/drawing/2014/main" val="3309931393"/>
                        </a:ext>
                      </a:extLst>
                    </a:gridCol>
                    <a:gridCol w="78873">
                      <a:extLst>
                        <a:ext uri="{9D8B030D-6E8A-4147-A177-3AD203B41FA5}">
                          <a16:colId xmlns:a16="http://schemas.microsoft.com/office/drawing/2014/main" val="1184337370"/>
                        </a:ext>
                      </a:extLst>
                    </a:gridCol>
                    <a:gridCol w="767054">
                      <a:extLst>
                        <a:ext uri="{9D8B030D-6E8A-4147-A177-3AD203B41FA5}">
                          <a16:colId xmlns:a16="http://schemas.microsoft.com/office/drawing/2014/main" val="2158471446"/>
                        </a:ext>
                      </a:extLst>
                    </a:gridCol>
                    <a:gridCol w="1155511">
                      <a:extLst>
                        <a:ext uri="{9D8B030D-6E8A-4147-A177-3AD203B41FA5}">
                          <a16:colId xmlns:a16="http://schemas.microsoft.com/office/drawing/2014/main" val="1571079558"/>
                        </a:ext>
                      </a:extLst>
                    </a:gridCol>
                  </a:tblGrid>
                  <a:tr h="594318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 b="1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 gridSpan="5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b="1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r>
                            <a:rPr lang="en-US" sz="1600" b="1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V: Abnormal </a:t>
                          </a:r>
                          <a:r>
                            <a:rPr lang="en-US" sz="1600" b="1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brand </a:t>
                          </a:r>
                          <a:r>
                            <a:rPr lang="en-US" sz="1600" b="1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erception </a:t>
                          </a:r>
                          <a:br>
                            <a:rPr lang="en-US" sz="1600" b="1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a:br>
                          <a:r>
                            <a:rPr lang="en-US" sz="1600" b="1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      returns</a:t>
                          </a:r>
                          <a:r>
                            <a:rPr lang="en-US" sz="1600" b="1" baseline="0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</a:t>
                          </a:r>
                          <a:r>
                            <a:rPr lang="en-US" sz="1600" b="1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 percentage</a:t>
                          </a:r>
                          <a:endParaRPr lang="en-US" sz="1600" b="1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D9D9D9"/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pPr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D9D9D9"/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397848819"/>
                      </a:ext>
                    </a:extLst>
                  </a:tr>
                  <a:tr h="267816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i="1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600">
                            <a:effectLst/>
                            <a:latin typeface="+mn-lt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gridSpan="3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430480820"/>
                      </a:ext>
                    </a:extLst>
                  </a:tr>
                  <a:tr h="267816">
                    <a:tc gridSpan="2">
                      <a:txBody>
                        <a:bodyPr/>
                        <a:lstStyle/>
                        <a:p>
                          <a:pPr indent="-9017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weeks)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4">
                      <a:txBody>
                        <a:bodyPr/>
                        <a:lstStyle/>
                        <a:p>
                          <a:pPr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en-US" sz="1600" i="1" kern="1200">
                                      <a:solidFill>
                                        <a:srgbClr val="0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1600" kern="1200">
                                      <a:solidFill>
                                        <a:srgbClr val="0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AAR</m:t>
                                  </m:r>
                                </m:e>
                                <m:sub>
                                  <m:r>
                                    <a:rPr lang="en-US" sz="1600" i="1" kern="1200">
                                      <a:solidFill>
                                        <a:srgbClr val="0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𝑤</m:t>
                                  </m:r>
                                </m:sub>
                                <m:sup>
                                  <m:r>
                                    <a:rPr lang="en-US" sz="1600" i="1" kern="1200" baseline="30000">
                                      <a:solidFill>
                                        <a:srgbClr val="0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𝐵𝐼</m:t>
                                  </m:r>
                                </m:sup>
                              </m:sSubSup>
                            </m:oMath>
                          </a14:m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</a:t>
                          </a: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  (SE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783254827"/>
                      </a:ext>
                    </a:extLst>
                  </a:tr>
                  <a:tr h="2916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-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gridSpan="2">
                      <a:txBody>
                        <a:bodyPr/>
                        <a:lstStyle/>
                        <a:p>
                          <a:pPr algn="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-.18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10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050726155"/>
                      </a:ext>
                    </a:extLst>
                  </a:tr>
                  <a:tr h="2916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 gridSpan="2">
                      <a:txBody>
                        <a:bodyPr/>
                        <a:lstStyle/>
                        <a:p>
                          <a:pPr algn="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21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10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069817760"/>
                      </a:ext>
                    </a:extLst>
                  </a:tr>
                  <a:tr h="2916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28575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gridSpan="2">
                      <a:txBody>
                        <a:bodyPr/>
                        <a:lstStyle/>
                        <a:p>
                          <a:pPr algn="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0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 w="28575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 w="28575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09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28575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649278702"/>
                      </a:ext>
                    </a:extLst>
                  </a:tr>
                  <a:tr h="645792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 gridSpan="5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400" i="1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tes: </a:t>
                          </a:r>
                          <a:r>
                            <a:rPr lang="en-US" sz="14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</a:t>
                          </a:r>
                          <a:r>
                            <a:rPr lang="en-US" sz="1400" i="1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p</a:t>
                          </a:r>
                          <a:r>
                            <a:rPr lang="en-US" sz="14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&lt; .05, *** </a:t>
                          </a:r>
                          <a:r>
                            <a:rPr lang="en-US" sz="1400" i="1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</a:t>
                          </a:r>
                          <a:r>
                            <a:rPr lang="en-US" sz="14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&lt; .01 (one-sided); OLS(t-test); Standard errors in parentheses in percentage; </a:t>
                          </a:r>
                          <a:r>
                            <a:rPr lang="en-US" sz="1400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/>
                          </a:r>
                          <a:br>
                            <a:rPr lang="en-US" sz="1400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a:br>
                          <a:r>
                            <a:rPr lang="en-US" sz="1400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(events</a:t>
                          </a:r>
                          <a:r>
                            <a:rPr lang="en-US" sz="14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 = 183. </a:t>
                          </a:r>
                          <a:endParaRPr lang="en-US" sz="14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 w="28575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792474764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4" name="Table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680342244"/>
                  </p:ext>
                </p:extLst>
              </p:nvPr>
            </p:nvGraphicFramePr>
            <p:xfrm>
              <a:off x="873039" y="1828040"/>
              <a:ext cx="4379497" cy="2689790"/>
            </p:xfrm>
            <a:graphic>
              <a:graphicData uri="http://schemas.openxmlformats.org/drawingml/2006/table">
                <a:tbl>
                  <a:tblPr firstRow="1" firstCol="1" bandRow="1"/>
                  <a:tblGrid>
                    <a:gridCol w="147888">
                      <a:extLst>
                        <a:ext uri="{9D8B030D-6E8A-4147-A177-3AD203B41FA5}">
                          <a16:colId xmlns:a16="http://schemas.microsoft.com/office/drawing/2014/main" val="4114009371"/>
                        </a:ext>
                      </a:extLst>
                    </a:gridCol>
                    <a:gridCol w="1327061">
                      <a:extLst>
                        <a:ext uri="{9D8B030D-6E8A-4147-A177-3AD203B41FA5}">
                          <a16:colId xmlns:a16="http://schemas.microsoft.com/office/drawing/2014/main" val="465997600"/>
                        </a:ext>
                      </a:extLst>
                    </a:gridCol>
                    <a:gridCol w="903110">
                      <a:extLst>
                        <a:ext uri="{9D8B030D-6E8A-4147-A177-3AD203B41FA5}">
                          <a16:colId xmlns:a16="http://schemas.microsoft.com/office/drawing/2014/main" val="3309931393"/>
                        </a:ext>
                      </a:extLst>
                    </a:gridCol>
                    <a:gridCol w="78873">
                      <a:extLst>
                        <a:ext uri="{9D8B030D-6E8A-4147-A177-3AD203B41FA5}">
                          <a16:colId xmlns:a16="http://schemas.microsoft.com/office/drawing/2014/main" val="1184337370"/>
                        </a:ext>
                      </a:extLst>
                    </a:gridCol>
                    <a:gridCol w="767054">
                      <a:extLst>
                        <a:ext uri="{9D8B030D-6E8A-4147-A177-3AD203B41FA5}">
                          <a16:colId xmlns:a16="http://schemas.microsoft.com/office/drawing/2014/main" val="2158471446"/>
                        </a:ext>
                      </a:extLst>
                    </a:gridCol>
                    <a:gridCol w="1155511">
                      <a:extLst>
                        <a:ext uri="{9D8B030D-6E8A-4147-A177-3AD203B41FA5}">
                          <a16:colId xmlns:a16="http://schemas.microsoft.com/office/drawing/2014/main" val="1571079558"/>
                        </a:ext>
                      </a:extLst>
                    </a:gridCol>
                  </a:tblGrid>
                  <a:tr h="594318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 b="1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 gridSpan="5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b="1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r>
                            <a:rPr lang="en-US" sz="1600" b="1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V: Abnormal </a:t>
                          </a:r>
                          <a:r>
                            <a:rPr lang="en-US" sz="1600" b="1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brand </a:t>
                          </a:r>
                          <a:r>
                            <a:rPr lang="en-US" sz="1600" b="1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erception </a:t>
                          </a:r>
                          <a:br>
                            <a:rPr lang="en-US" sz="1600" b="1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a:br>
                          <a:r>
                            <a:rPr lang="en-US" sz="1600" b="1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      returns</a:t>
                          </a:r>
                          <a:r>
                            <a:rPr lang="en-US" sz="1600" b="1" baseline="0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</a:t>
                          </a:r>
                          <a:r>
                            <a:rPr lang="en-US" sz="1600" b="1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in percentage</a:t>
                          </a:r>
                          <a:endParaRPr lang="en-US" sz="1600" b="1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D9D9D9"/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pPr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D9D9D9"/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397848819"/>
                      </a:ext>
                    </a:extLst>
                  </a:tr>
                  <a:tr h="267816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i="1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w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</a:pPr>
                          <a:endParaRPr lang="en-US" sz="1600">
                            <a:effectLst/>
                            <a:latin typeface="+mn-lt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gridSpan="3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430480820"/>
                      </a:ext>
                    </a:extLst>
                  </a:tr>
                  <a:tr h="267816">
                    <a:tc gridSpan="2">
                      <a:txBody>
                        <a:bodyPr/>
                        <a:lstStyle/>
                        <a:p>
                          <a:pPr indent="-9017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weeks)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4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0" marR="0" marT="0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7"/>
                          <a:stretch>
                            <a:fillRect l="-50734" t="-329545" r="-419" b="-620455"/>
                          </a:stretch>
                        </a:blip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783254827"/>
                      </a:ext>
                    </a:extLst>
                  </a:tr>
                  <a:tr h="2916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-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gridSpan="2">
                      <a:txBody>
                        <a:bodyPr/>
                        <a:lstStyle/>
                        <a:p>
                          <a:pPr algn="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-.18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10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050726155"/>
                      </a:ext>
                    </a:extLst>
                  </a:tr>
                  <a:tr h="2916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 gridSpan="2">
                      <a:txBody>
                        <a:bodyPr/>
                        <a:lstStyle/>
                        <a:p>
                          <a:pPr algn="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21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10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069817760"/>
                      </a:ext>
                    </a:extLst>
                  </a:tr>
                  <a:tr h="291664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28575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gridSpan="2">
                      <a:txBody>
                        <a:bodyPr/>
                        <a:lstStyle/>
                        <a:p>
                          <a:pPr algn="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0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 w="28575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 w="28575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09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28575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649278702"/>
                      </a:ext>
                    </a:extLst>
                  </a:tr>
                  <a:tr h="684848"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800"/>
                            </a:spcAft>
                          </a:pPr>
                          <a:r>
                            <a:rPr lang="en-US" sz="1100">
                              <a:effectLst/>
                              <a:latin typeface="+mn-lt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a:t> </a:t>
                          </a: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 gridSpan="5"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400" i="1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tes: </a:t>
                          </a:r>
                          <a:r>
                            <a:rPr lang="en-US" sz="14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</a:t>
                          </a:r>
                          <a:r>
                            <a:rPr lang="en-US" sz="1400" i="1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p</a:t>
                          </a:r>
                          <a:r>
                            <a:rPr lang="en-US" sz="14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&lt; .05, *** </a:t>
                          </a:r>
                          <a:r>
                            <a:rPr lang="en-US" sz="1400" i="1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</a:t>
                          </a:r>
                          <a:r>
                            <a:rPr lang="en-US" sz="14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&lt; .01 (one-sided); OLS(t-test); Standard errors in parentheses in percentage; </a:t>
                          </a:r>
                          <a:r>
                            <a:rPr lang="en-US" sz="1400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/>
                          </a:r>
                          <a:br>
                            <a:rPr lang="en-US" sz="1400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a:br>
                          <a:r>
                            <a:rPr lang="en-US" sz="1400" dirty="0" smtClean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(events</a:t>
                          </a:r>
                          <a:r>
                            <a:rPr lang="en-US" sz="14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) = 183. </a:t>
                          </a:r>
                          <a:endParaRPr lang="en-US" sz="14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>
                          <a:noFill/>
                        </a:lnR>
                        <a:lnT w="28575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792474764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6" name="Table 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07830231"/>
                  </p:ext>
                </p:extLst>
              </p:nvPr>
            </p:nvGraphicFramePr>
            <p:xfrm>
              <a:off x="6361947" y="1828040"/>
              <a:ext cx="4033338" cy="4027327"/>
            </p:xfrm>
            <a:graphic>
              <a:graphicData uri="http://schemas.openxmlformats.org/drawingml/2006/table">
                <a:tbl>
                  <a:tblPr/>
                  <a:tblGrid>
                    <a:gridCol w="929055">
                      <a:extLst>
                        <a:ext uri="{9D8B030D-6E8A-4147-A177-3AD203B41FA5}">
                          <a16:colId xmlns:a16="http://schemas.microsoft.com/office/drawing/2014/main" val="2778148008"/>
                        </a:ext>
                      </a:extLst>
                    </a:gridCol>
                    <a:gridCol w="792793">
                      <a:extLst>
                        <a:ext uri="{9D8B030D-6E8A-4147-A177-3AD203B41FA5}">
                          <a16:colId xmlns:a16="http://schemas.microsoft.com/office/drawing/2014/main" val="736811174"/>
                        </a:ext>
                      </a:extLst>
                    </a:gridCol>
                    <a:gridCol w="765542">
                      <a:extLst>
                        <a:ext uri="{9D8B030D-6E8A-4147-A177-3AD203B41FA5}">
                          <a16:colId xmlns:a16="http://schemas.microsoft.com/office/drawing/2014/main" val="2408475543"/>
                        </a:ext>
                      </a:extLst>
                    </a:gridCol>
                    <a:gridCol w="640429">
                      <a:extLst>
                        <a:ext uri="{9D8B030D-6E8A-4147-A177-3AD203B41FA5}">
                          <a16:colId xmlns:a16="http://schemas.microsoft.com/office/drawing/2014/main" val="290799606"/>
                        </a:ext>
                      </a:extLst>
                    </a:gridCol>
                    <a:gridCol w="905519">
                      <a:extLst>
                        <a:ext uri="{9D8B030D-6E8A-4147-A177-3AD203B41FA5}">
                          <a16:colId xmlns:a16="http://schemas.microsoft.com/office/drawing/2014/main" val="479180569"/>
                        </a:ext>
                      </a:extLst>
                    </a:gridCol>
                  </a:tblGrid>
                  <a:tr h="580544">
                    <a:tc gridSpan="5"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b="1" dirty="0"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V: Abnormal stock price returns in percentage 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D9D9D9"/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28074747"/>
                      </a:ext>
                    </a:extLst>
                  </a:tr>
                  <a:tr h="600011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i="1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 </a:t>
                          </a:r>
                          <a:br>
                            <a:rPr lang="en-US" sz="1600" i="1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a:b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days)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sSubSup>
                                <m:sSubSupPr>
                                  <m:ctrlPr>
                                    <a:rPr lang="en-US" sz="1600" i="1" kern="1200">
                                      <a:solidFill>
                                        <a:srgbClr val="0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sz="1600" kern="1200">
                                      <a:solidFill>
                                        <a:srgbClr val="0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AAR</m:t>
                                  </m:r>
                                </m:e>
                                <m:sub>
                                  <m:r>
                                    <a:rPr lang="en-US" sz="1600" i="1" kern="1200">
                                      <a:solidFill>
                                        <a:srgbClr val="0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𝑑</m:t>
                                  </m:r>
                                </m:sub>
                                <m:sup>
                                  <m:r>
                                    <a:rPr lang="en-US" sz="1600" i="1" kern="1200" baseline="30000">
                                      <a:solidFill>
                                        <a:srgbClr val="0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𝑆𝑀</m:t>
                                  </m:r>
                                </m:sup>
                              </m:sSubSup>
                            </m:oMath>
                          </a14:m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</a:t>
                          </a:r>
                          <a:r>
                            <a:rPr lang="en-US" sz="16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 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gridSpan="3"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AAR</a:t>
                          </a:r>
                          <a:r>
                            <a:rPr lang="en-US" sz="1600" i="1" kern="1200" baseline="300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SM</a:t>
                          </a: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[-3,3]  (SE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127959184"/>
                      </a:ext>
                    </a:extLst>
                  </a:tr>
                  <a:tr h="282545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-3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.3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3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7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015631172"/>
                      </a:ext>
                    </a:extLst>
                  </a:tr>
                  <a:tr h="314917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-2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.0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3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7)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312401153"/>
                      </a:ext>
                    </a:extLst>
                  </a:tr>
                  <a:tr h="314917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-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.06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37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7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957889953"/>
                      </a:ext>
                    </a:extLst>
                  </a:tr>
                  <a:tr h="282545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.5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87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8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351102699"/>
                      </a:ext>
                    </a:extLst>
                  </a:tr>
                  <a:tr h="282545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1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.29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1.16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*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8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66429187"/>
                      </a:ext>
                    </a:extLst>
                  </a:tr>
                  <a:tr h="282545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2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-.15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1.0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*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8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611784426"/>
                      </a:ext>
                    </a:extLst>
                  </a:tr>
                  <a:tr h="282545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3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-.29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7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8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180242376"/>
                      </a:ext>
                    </a:extLst>
                  </a:tr>
                  <a:tr h="804213">
                    <a:tc gridSpan="5"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400" i="1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tes: </a:t>
                          </a:r>
                          <a:r>
                            <a:rPr lang="en-US" sz="14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 </a:t>
                          </a:r>
                          <a:r>
                            <a:rPr lang="en-US" sz="1400" i="1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</a:t>
                          </a:r>
                          <a:r>
                            <a:rPr lang="en-US" sz="14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&lt; .05, *** </a:t>
                          </a:r>
                          <a:r>
                            <a:rPr lang="en-US" sz="1400" i="1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</a:t>
                          </a:r>
                          <a:r>
                            <a:rPr lang="en-US" sz="14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&lt; .01 (one-sided); OLS(t-test); standard errors in parentheses in percentage; N(events) = 36. </a:t>
                          </a:r>
                          <a:endParaRPr lang="en-US" sz="14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589987362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6" name="Table 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07830231"/>
                  </p:ext>
                </p:extLst>
              </p:nvPr>
            </p:nvGraphicFramePr>
            <p:xfrm>
              <a:off x="6361947" y="1828040"/>
              <a:ext cx="4033338" cy="4027327"/>
            </p:xfrm>
            <a:graphic>
              <a:graphicData uri="http://schemas.openxmlformats.org/drawingml/2006/table">
                <a:tbl>
                  <a:tblPr/>
                  <a:tblGrid>
                    <a:gridCol w="929055">
                      <a:extLst>
                        <a:ext uri="{9D8B030D-6E8A-4147-A177-3AD203B41FA5}">
                          <a16:colId xmlns:a16="http://schemas.microsoft.com/office/drawing/2014/main" val="2778148008"/>
                        </a:ext>
                      </a:extLst>
                    </a:gridCol>
                    <a:gridCol w="792793">
                      <a:extLst>
                        <a:ext uri="{9D8B030D-6E8A-4147-A177-3AD203B41FA5}">
                          <a16:colId xmlns:a16="http://schemas.microsoft.com/office/drawing/2014/main" val="736811174"/>
                        </a:ext>
                      </a:extLst>
                    </a:gridCol>
                    <a:gridCol w="765542">
                      <a:extLst>
                        <a:ext uri="{9D8B030D-6E8A-4147-A177-3AD203B41FA5}">
                          <a16:colId xmlns:a16="http://schemas.microsoft.com/office/drawing/2014/main" val="2408475543"/>
                        </a:ext>
                      </a:extLst>
                    </a:gridCol>
                    <a:gridCol w="640429">
                      <a:extLst>
                        <a:ext uri="{9D8B030D-6E8A-4147-A177-3AD203B41FA5}">
                          <a16:colId xmlns:a16="http://schemas.microsoft.com/office/drawing/2014/main" val="290799606"/>
                        </a:ext>
                      </a:extLst>
                    </a:gridCol>
                    <a:gridCol w="905519">
                      <a:extLst>
                        <a:ext uri="{9D8B030D-6E8A-4147-A177-3AD203B41FA5}">
                          <a16:colId xmlns:a16="http://schemas.microsoft.com/office/drawing/2014/main" val="479180569"/>
                        </a:ext>
                      </a:extLst>
                    </a:gridCol>
                  </a:tblGrid>
                  <a:tr h="580544">
                    <a:tc gridSpan="5"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b="1" dirty="0"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V: Abnormal stock price returns in percentage 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0" marR="0" marT="0" marB="0" anchor="ctr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D9D9D9"/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28074747"/>
                      </a:ext>
                    </a:extLst>
                  </a:tr>
                  <a:tr h="600011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i="1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d </a:t>
                          </a:r>
                          <a:br>
                            <a:rPr lang="en-US" sz="1600" i="1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</a:b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days)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9525" marR="9525" marT="9525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8"/>
                          <a:stretch>
                            <a:fillRect l="-117692" t="-96970" r="-293077" b="-484848"/>
                          </a:stretch>
                        </a:blipFill>
                      </a:tcPr>
                    </a:tc>
                    <a:tc gridSpan="3"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CAAR</a:t>
                          </a:r>
                          <a:r>
                            <a:rPr lang="en-US" sz="1600" i="1" kern="1200" baseline="300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SM</a:t>
                          </a: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[-3,3]  (SE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ctr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127959184"/>
                      </a:ext>
                    </a:extLst>
                  </a:tr>
                  <a:tr h="282545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-3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.3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3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7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015631172"/>
                      </a:ext>
                    </a:extLst>
                  </a:tr>
                  <a:tr h="314917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-2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.0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3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7)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312401153"/>
                      </a:ext>
                    </a:extLst>
                  </a:tr>
                  <a:tr h="314917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-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.06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37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7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957889953"/>
                      </a:ext>
                    </a:extLst>
                  </a:tr>
                  <a:tr h="282545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.5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87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8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351102699"/>
                      </a:ext>
                    </a:extLst>
                  </a:tr>
                  <a:tr h="282545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1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.29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1.16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*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8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66429187"/>
                      </a:ext>
                    </a:extLst>
                  </a:tr>
                  <a:tr h="282545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2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-.15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1.00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*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8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>
                          <a:noFill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611784426"/>
                      </a:ext>
                    </a:extLst>
                  </a:tr>
                  <a:tr h="282545">
                    <a:tc>
                      <a:txBody>
                        <a:bodyPr/>
                        <a:lstStyle/>
                        <a:p>
                          <a:pPr algn="ct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3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 -.29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r"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.71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 w="12700" cap="flat" cmpd="sng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>
                          <a:noFill/>
                        </a:lnR>
                        <a:lnT>
                          <a:noFill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 </a:t>
                          </a:r>
                          <a:endParaRPr lang="en-US" sz="160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>
                          <a:noFill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(.38)</a:t>
                          </a:r>
                          <a:endParaRPr lang="en-US" sz="16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>
                          <a:noFill/>
                        </a:lnT>
                        <a:lnB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180242376"/>
                      </a:ext>
                    </a:extLst>
                  </a:tr>
                  <a:tr h="804213">
                    <a:tc gridSpan="5">
                      <a:txBody>
                        <a:bodyPr/>
                        <a:lstStyle/>
                        <a:p>
                          <a:pPr fontAlgn="b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400" i="1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Notes: </a:t>
                          </a:r>
                          <a:r>
                            <a:rPr lang="en-US" sz="14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** </a:t>
                          </a:r>
                          <a:r>
                            <a:rPr lang="en-US" sz="1400" i="1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</a:t>
                          </a:r>
                          <a:r>
                            <a:rPr lang="en-US" sz="14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&lt; .05, *** </a:t>
                          </a:r>
                          <a:r>
                            <a:rPr lang="en-US" sz="1400" i="1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</a:t>
                          </a:r>
                          <a:r>
                            <a:rPr lang="en-US" sz="1400" kern="1200" dirty="0">
                              <a:solidFill>
                                <a:srgbClr val="000000"/>
                              </a:solidFill>
                              <a:effectLst/>
                              <a:latin typeface="+mn-lt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 &lt; .01 (one-sided); OLS(t-test); standard errors in parentheses in percentage; N(events) = 36. </a:t>
                          </a:r>
                          <a:endParaRPr lang="en-US" sz="1400" dirty="0">
                            <a:effectLst/>
                            <a:latin typeface="+mn-lt"/>
                            <a:ea typeface="Calibri" panose="020F0502020204030204" pitchFamily="34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9525" marR="9525" marT="9525" marB="0" anchor="b">
                        <a:lnL>
                          <a:noFill/>
                        </a:lnL>
                        <a:lnR>
                          <a:noFill/>
                        </a:lnR>
                        <a:lnT w="19050" cap="flat" cmpd="dbl" algn="ctr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>
                          <a:noFill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589987362"/>
                      </a:ext>
                    </a:extLst>
                  </a:tr>
                </a:tbl>
              </a:graphicData>
            </a:graphic>
          </p:graphicFrame>
        </mc:Fallback>
      </mc:AlternateContent>
      <p:cxnSp>
        <p:nvCxnSpPr>
          <p:cNvPr id="27" name="Straight Connector 26"/>
          <p:cNvCxnSpPr/>
          <p:nvPr/>
        </p:nvCxnSpPr>
        <p:spPr>
          <a:xfrm>
            <a:off x="5807241" y="1410946"/>
            <a:ext cx="0" cy="4572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899762" y="1267509"/>
            <a:ext cx="44650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1617663" algn="l"/>
              </a:tabLst>
              <a:defRPr/>
            </a:pPr>
            <a:r>
              <a:rPr lang="en-US" sz="2000" b="1" u="sng" dirty="0" smtClean="0"/>
              <a:t>Positive impact on consumer perception</a:t>
            </a:r>
            <a:endParaRPr lang="en-US" sz="2000" b="1" u="sng" dirty="0"/>
          </a:p>
        </p:txBody>
      </p:sp>
      <p:sp>
        <p:nvSpPr>
          <p:cNvPr id="30" name="Rectangle 29"/>
          <p:cNvSpPr/>
          <p:nvPr/>
        </p:nvSpPr>
        <p:spPr>
          <a:xfrm>
            <a:off x="6499009" y="1267509"/>
            <a:ext cx="34831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  <a:tabLst>
                <a:tab pos="1617663" algn="l"/>
              </a:tabLst>
              <a:defRPr/>
            </a:pPr>
            <a:r>
              <a:rPr lang="en-US" sz="2000" b="1" u="sng" dirty="0" smtClean="0"/>
              <a:t>Positive impact on stock return</a:t>
            </a:r>
            <a:endParaRPr lang="en-US" sz="2000" b="1" u="sng" dirty="0"/>
          </a:p>
        </p:txBody>
      </p:sp>
    </p:spTree>
    <p:extLst>
      <p:ext uri="{BB962C8B-B14F-4D97-AF65-F5344CB8AC3E}">
        <p14:creationId xmlns:p14="http://schemas.microsoft.com/office/powerpoint/2010/main" val="24231596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34"/>
          <p:cNvSpPr>
            <a:spLocks noChangeArrowheads="1"/>
          </p:cNvSpPr>
          <p:nvPr/>
        </p:nvSpPr>
        <p:spPr bwMode="gray">
          <a:xfrm>
            <a:off x="219270" y="139920"/>
            <a:ext cx="11796268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RIVERS OF THE POSITIVE IMPACT ON BRAND PERCEPTION METRICS AND STOCK RETURN</a:t>
            </a:r>
            <a:endParaRPr lang="en-US" sz="20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452481"/>
              </p:ext>
            </p:extLst>
          </p:nvPr>
        </p:nvGraphicFramePr>
        <p:xfrm>
          <a:off x="1048101" y="656683"/>
          <a:ext cx="10138606" cy="6267615"/>
        </p:xfrm>
        <a:graphic>
          <a:graphicData uri="http://schemas.openxmlformats.org/drawingml/2006/table">
            <a:tbl>
              <a:tblPr/>
              <a:tblGrid>
                <a:gridCol w="830931">
                  <a:extLst>
                    <a:ext uri="{9D8B030D-6E8A-4147-A177-3AD203B41FA5}">
                      <a16:colId xmlns:a16="http://schemas.microsoft.com/office/drawing/2014/main" val="1095440805"/>
                    </a:ext>
                  </a:extLst>
                </a:gridCol>
                <a:gridCol w="1055130">
                  <a:extLst>
                    <a:ext uri="{9D8B030D-6E8A-4147-A177-3AD203B41FA5}">
                      <a16:colId xmlns:a16="http://schemas.microsoft.com/office/drawing/2014/main" val="631160441"/>
                    </a:ext>
                  </a:extLst>
                </a:gridCol>
                <a:gridCol w="2454972">
                  <a:extLst>
                    <a:ext uri="{9D8B030D-6E8A-4147-A177-3AD203B41FA5}">
                      <a16:colId xmlns:a16="http://schemas.microsoft.com/office/drawing/2014/main" val="1102876695"/>
                    </a:ext>
                  </a:extLst>
                </a:gridCol>
                <a:gridCol w="723278">
                  <a:extLst>
                    <a:ext uri="{9D8B030D-6E8A-4147-A177-3AD203B41FA5}">
                      <a16:colId xmlns:a16="http://schemas.microsoft.com/office/drawing/2014/main" val="2255877082"/>
                    </a:ext>
                  </a:extLst>
                </a:gridCol>
                <a:gridCol w="218678">
                  <a:extLst>
                    <a:ext uri="{9D8B030D-6E8A-4147-A177-3AD203B41FA5}">
                      <a16:colId xmlns:a16="http://schemas.microsoft.com/office/drawing/2014/main" val="3546427932"/>
                    </a:ext>
                  </a:extLst>
                </a:gridCol>
                <a:gridCol w="840597">
                  <a:extLst>
                    <a:ext uri="{9D8B030D-6E8A-4147-A177-3AD203B41FA5}">
                      <a16:colId xmlns:a16="http://schemas.microsoft.com/office/drawing/2014/main" val="1217050875"/>
                    </a:ext>
                  </a:extLst>
                </a:gridCol>
                <a:gridCol w="204584">
                  <a:extLst>
                    <a:ext uri="{9D8B030D-6E8A-4147-A177-3AD203B41FA5}">
                      <a16:colId xmlns:a16="http://schemas.microsoft.com/office/drawing/2014/main" val="3985730326"/>
                    </a:ext>
                  </a:extLst>
                </a:gridCol>
                <a:gridCol w="719140">
                  <a:extLst>
                    <a:ext uri="{9D8B030D-6E8A-4147-A177-3AD203B41FA5}">
                      <a16:colId xmlns:a16="http://schemas.microsoft.com/office/drawing/2014/main" val="371722390"/>
                    </a:ext>
                  </a:extLst>
                </a:gridCol>
                <a:gridCol w="218678">
                  <a:extLst>
                    <a:ext uri="{9D8B030D-6E8A-4147-A177-3AD203B41FA5}">
                      <a16:colId xmlns:a16="http://schemas.microsoft.com/office/drawing/2014/main" val="1604977356"/>
                    </a:ext>
                  </a:extLst>
                </a:gridCol>
                <a:gridCol w="218678">
                  <a:extLst>
                    <a:ext uri="{9D8B030D-6E8A-4147-A177-3AD203B41FA5}">
                      <a16:colId xmlns:a16="http://schemas.microsoft.com/office/drawing/2014/main" val="228790978"/>
                    </a:ext>
                  </a:extLst>
                </a:gridCol>
                <a:gridCol w="218678">
                  <a:extLst>
                    <a:ext uri="{9D8B030D-6E8A-4147-A177-3AD203B41FA5}">
                      <a16:colId xmlns:a16="http://schemas.microsoft.com/office/drawing/2014/main" val="1018557795"/>
                    </a:ext>
                  </a:extLst>
                </a:gridCol>
                <a:gridCol w="218678">
                  <a:extLst>
                    <a:ext uri="{9D8B030D-6E8A-4147-A177-3AD203B41FA5}">
                      <a16:colId xmlns:a16="http://schemas.microsoft.com/office/drawing/2014/main" val="2846753715"/>
                    </a:ext>
                  </a:extLst>
                </a:gridCol>
                <a:gridCol w="392808">
                  <a:extLst>
                    <a:ext uri="{9D8B030D-6E8A-4147-A177-3AD203B41FA5}">
                      <a16:colId xmlns:a16="http://schemas.microsoft.com/office/drawing/2014/main" val="3407737319"/>
                    </a:ext>
                  </a:extLst>
                </a:gridCol>
                <a:gridCol w="489508">
                  <a:extLst>
                    <a:ext uri="{9D8B030D-6E8A-4147-A177-3AD203B41FA5}">
                      <a16:colId xmlns:a16="http://schemas.microsoft.com/office/drawing/2014/main" val="3460947276"/>
                    </a:ext>
                  </a:extLst>
                </a:gridCol>
                <a:gridCol w="585686">
                  <a:extLst>
                    <a:ext uri="{9D8B030D-6E8A-4147-A177-3AD203B41FA5}">
                      <a16:colId xmlns:a16="http://schemas.microsoft.com/office/drawing/2014/main" val="1708230118"/>
                    </a:ext>
                  </a:extLst>
                </a:gridCol>
                <a:gridCol w="663036">
                  <a:extLst>
                    <a:ext uri="{9D8B030D-6E8A-4147-A177-3AD203B41FA5}">
                      <a16:colId xmlns:a16="http://schemas.microsoft.com/office/drawing/2014/main" val="1997359472"/>
                    </a:ext>
                  </a:extLst>
                </a:gridCol>
                <a:gridCol w="85546">
                  <a:extLst>
                    <a:ext uri="{9D8B030D-6E8A-4147-A177-3AD203B41FA5}">
                      <a16:colId xmlns:a16="http://schemas.microsoft.com/office/drawing/2014/main" val="1824726910"/>
                    </a:ext>
                  </a:extLst>
                </a:gridCol>
              </a:tblGrid>
              <a:tr h="95627">
                <a:tc gridSpan="6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V 1: </a:t>
                      </a:r>
                      <a:r>
                        <a:rPr lang="en-US" sz="13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bnormal brand perception returns in event week </a:t>
                      </a:r>
                      <a:r>
                        <a:rPr lang="en-US" sz="13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br>
                        <a:rPr lang="en-US" sz="13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US" sz="13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V 2: Cumulative abnormal average stock returns day -3 to day 1 </a:t>
                      </a:r>
                      <a:r>
                        <a:rPr lang="en-US" sz="1300" b="1" baseline="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del </a:t>
                      </a:r>
                      <a:r>
                        <a:rPr lang="en-US" sz="13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br>
                        <a:rPr lang="en-US" sz="13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US" sz="13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Brand Perception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del </a:t>
                      </a:r>
                      <a:r>
                        <a:rPr lang="en-US" sz="13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I</a:t>
                      </a:r>
                      <a:br>
                        <a:rPr lang="en-US" sz="13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US" sz="13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Stock Return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1802340"/>
                  </a:ext>
                </a:extLst>
              </a:tr>
              <a:tr h="295620">
                <a:tc gridSpan="3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i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Scale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pected sign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Estimated</a:t>
                      </a:r>
                      <a:br>
                        <a:rPr lang="en-US" sz="13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US" sz="13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efficient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SE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Estimated   </a:t>
                      </a:r>
                      <a:br>
                        <a:rPr lang="en-US" sz="13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US" sz="13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efficient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(SE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  <a:ea typeface="MS Mincho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123460"/>
                  </a:ext>
                </a:extLst>
              </a:tr>
              <a:tr h="148514"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tercept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.028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**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6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-.059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.084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3117370"/>
                  </a:ext>
                </a:extLst>
              </a:tr>
              <a:tr h="148514">
                <a:tc gridSpan="3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u="sng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SR characteristics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i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i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9050679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SR type I:  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hort-term activity (</a:t>
                      </a:r>
                      <a:r>
                        <a:rPr lang="en-US" sz="1300" i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</a:t>
                      </a: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de-DE" sz="1300" dirty="0" smtClean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-</a:t>
                      </a: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de-DE" sz="1300" dirty="0" smtClean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-</a:t>
                      </a: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0447764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Time horizon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ong-term activity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dummy]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05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*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2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.029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.020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0072865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SR type II:           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ployees (</a:t>
                      </a:r>
                      <a:r>
                        <a:rPr lang="en-US" sz="1300" i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</a:t>
                      </a: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de-DE" sz="1300" dirty="0" smtClean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-</a:t>
                      </a: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de-DE" sz="1300" dirty="0" smtClean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-</a:t>
                      </a: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5367784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Target group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vironmental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dummy]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/ -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08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5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.014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.048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8307219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i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sumers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dummy]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/ -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06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6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.023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.054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3242072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ety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dummy]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/ -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09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5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-.057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.048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7560460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SR type III:          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active activity (</a:t>
                      </a:r>
                      <a:r>
                        <a:rPr lang="en-US" sz="1300" i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</a:t>
                      </a: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de-DE" sz="1300" dirty="0" smtClean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-</a:t>
                      </a: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de-DE" sz="1300" dirty="0" smtClean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-</a:t>
                      </a: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1579715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Action type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active activity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dummy]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08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*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4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.037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.037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2624074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SR type IV: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 specific region mentioned (</a:t>
                      </a:r>
                      <a:r>
                        <a:rPr lang="en-US" sz="1300" i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</a:t>
                      </a: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sz="13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en-US" sz="13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1293363"/>
                  </a:ext>
                </a:extLst>
              </a:tr>
              <a:tr h="166788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Region)          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ome </a:t>
                      </a: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untry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dummy]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07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*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3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.014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.023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4786263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reign industrialized country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dummy]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/ -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02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5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.006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.048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3801821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i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reign developing country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dummy]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 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12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**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4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-.062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.056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4463181"/>
                  </a:ext>
                </a:extLst>
              </a:tr>
              <a:tr h="32399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dia presence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metric]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04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**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1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.005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.007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1816279"/>
                  </a:ext>
                </a:extLst>
              </a:tr>
              <a:tr h="265666">
                <a:tc gridSpan="6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u="sng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normal Consumer Brand</a:t>
                      </a:r>
                      <a:r>
                        <a:rPr lang="en-US" sz="1300" b="1" u="sng" baseline="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</a:t>
                      </a:r>
                      <a:r>
                        <a:rPr lang="en-US" sz="1300" b="1" u="sng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rception Returns</a:t>
                      </a:r>
                      <a:r>
                        <a:rPr lang="en-US" sz="13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                     </a:t>
                      </a: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[metric]                    +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223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.566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072896"/>
                  </a:ext>
                </a:extLst>
              </a:tr>
              <a:tr h="148514">
                <a:tc gridSpan="3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u="sng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trols: brand characteristics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13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7080455"/>
                  </a:ext>
                </a:extLst>
              </a:tr>
              <a:tr h="148514">
                <a:tc gridSpan="3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or brand reputation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metric]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7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</a:t>
                      </a:r>
                      <a:r>
                        <a:rPr lang="de-DE" sz="13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-.</a:t>
                      </a: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x10</a:t>
                      </a:r>
                      <a:r>
                        <a:rPr lang="de-DE" sz="1300" kern="1200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3</a:t>
                      </a: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</a:t>
                      </a:r>
                      <a:r>
                        <a:rPr lang="de-DE" sz="13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7x10</a:t>
                      </a:r>
                      <a:r>
                        <a:rPr lang="de-DE" sz="1300" kern="1200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4</a:t>
                      </a: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          .002** (.001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7261971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</a:t>
                      </a:r>
                      <a:r>
                        <a:rPr lang="en-US" sz="13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ype</a:t>
                      </a:r>
                      <a:r>
                        <a:rPr lang="en-US" sz="1300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ummies and 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Services (</a:t>
                      </a:r>
                      <a:r>
                        <a:rPr lang="en-US" sz="1300" i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</a:t>
                      </a: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561858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urables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dummy]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03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3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.048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.034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275518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Retailer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dummy]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08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*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4)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060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.048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2912104"/>
                  </a:ext>
                </a:extLst>
              </a:tr>
              <a:tr h="148514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Non-durables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dummy]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007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*</a:t>
                      </a: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.003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         .103*** (.029)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4843655"/>
                  </a:ext>
                </a:extLst>
              </a:tr>
              <a:tr h="148514">
                <a:tc gridSpan="6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3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e</a:t>
                      </a:r>
                      <a:r>
                        <a:rPr lang="de-DE" sz="1300" baseline="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related controls included: MvE, financial leverage, Operating Margins</a:t>
                      </a: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2424649"/>
                  </a:ext>
                </a:extLst>
              </a:tr>
              <a:tr h="62369"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de-DE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" marR="1750" marT="175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i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i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1804468"/>
                  </a:ext>
                </a:extLst>
              </a:tr>
              <a:tr h="147106">
                <a:tc gridSpan="14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</a:t>
                      </a:r>
                      <a:r>
                        <a:rPr lang="en-US" sz="12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del I: N 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events):183;  N (brands): 77   </a:t>
                      </a:r>
                      <a:r>
                        <a:rPr lang="en-US" sz="12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dj. R² </a:t>
                      </a:r>
                      <a:r>
                        <a:rPr lang="en-US" sz="12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=.121; Model II:     N (events):</a:t>
                      </a:r>
                      <a:r>
                        <a:rPr lang="en-US" sz="1200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2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6;  N (brands): 16    Adj. R² =.347                                                                       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9068636"/>
                  </a:ext>
                </a:extLst>
              </a:tr>
              <a:tr h="441319">
                <a:tc gridSpan="17">
                  <a:txBody>
                    <a:bodyPr/>
                    <a:lstStyle/>
                    <a:p>
                      <a:pPr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i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tes: </a:t>
                      </a:r>
                      <a:r>
                        <a:rPr lang="en-US" sz="10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 </a:t>
                      </a:r>
                      <a:r>
                        <a:rPr lang="en-US" sz="1000" i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</a:t>
                      </a:r>
                      <a:r>
                        <a:rPr lang="en-US" sz="10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&lt; .1, ** </a:t>
                      </a:r>
                      <a:r>
                        <a:rPr lang="en-US" sz="1000" i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</a:t>
                      </a:r>
                      <a:r>
                        <a:rPr lang="en-US" sz="10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&lt; .05, *** </a:t>
                      </a:r>
                      <a:r>
                        <a:rPr lang="en-US" sz="1000" i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</a:t>
                      </a:r>
                      <a:r>
                        <a:rPr lang="en-US" sz="10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&lt; .01 (two-sided t-test); OLS (t-test); Standard errors in parentheses; Note, most of the analyzed brands are not traded on stock markets. Thus, further finance-related control variables are not included in </a:t>
                      </a: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del</a:t>
                      </a:r>
                      <a:r>
                        <a:rPr lang="en-US" sz="1000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I</a:t>
                      </a: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endParaRPr lang="en-US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0868846"/>
                  </a:ext>
                </a:extLst>
              </a:tr>
            </a:tbl>
          </a:graphicData>
        </a:graphic>
      </p:graphicFrame>
      <p:sp>
        <p:nvSpPr>
          <p:cNvPr id="7" name="Abgerundetes Rechteck 8"/>
          <p:cNvSpPr/>
          <p:nvPr/>
        </p:nvSpPr>
        <p:spPr>
          <a:xfrm>
            <a:off x="1048101" y="1820579"/>
            <a:ext cx="8300436" cy="453389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Abgerundetes Rechteck 8"/>
          <p:cNvSpPr/>
          <p:nvPr/>
        </p:nvSpPr>
        <p:spPr>
          <a:xfrm>
            <a:off x="1048101" y="2273968"/>
            <a:ext cx="8300436" cy="782053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Abgerundetes Rechteck 8"/>
          <p:cNvSpPr/>
          <p:nvPr/>
        </p:nvSpPr>
        <p:spPr>
          <a:xfrm>
            <a:off x="1048101" y="3054581"/>
            <a:ext cx="8300436" cy="43076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Abgerundetes Rechteck 8"/>
          <p:cNvSpPr/>
          <p:nvPr/>
        </p:nvSpPr>
        <p:spPr>
          <a:xfrm>
            <a:off x="1048101" y="3404938"/>
            <a:ext cx="8300436" cy="873054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Abgerundetes Rechteck 8"/>
          <p:cNvSpPr/>
          <p:nvPr/>
        </p:nvSpPr>
        <p:spPr>
          <a:xfrm>
            <a:off x="1035379" y="4234011"/>
            <a:ext cx="8300436" cy="27001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Abgerundetes Rechteck 8"/>
          <p:cNvSpPr/>
          <p:nvPr/>
        </p:nvSpPr>
        <p:spPr>
          <a:xfrm>
            <a:off x="1044088" y="4404441"/>
            <a:ext cx="10046367" cy="291039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Abgerundetes Rechteck 8"/>
          <p:cNvSpPr/>
          <p:nvPr/>
        </p:nvSpPr>
        <p:spPr>
          <a:xfrm>
            <a:off x="1044087" y="4865910"/>
            <a:ext cx="10046367" cy="291039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31942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34"/>
          <p:cNvSpPr>
            <a:spLocks noChangeArrowheads="1"/>
          </p:cNvSpPr>
          <p:nvPr/>
        </p:nvSpPr>
        <p:spPr bwMode="gray">
          <a:xfrm>
            <a:off x="395732" y="139920"/>
            <a:ext cx="1117062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SCUSSION: IMPLICATIONS AND LIMITATIONS</a:t>
            </a:r>
            <a:endParaRPr lang="en-US" sz="20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l="40291"/>
          <a:stretch/>
        </p:blipFill>
        <p:spPr>
          <a:xfrm>
            <a:off x="545431" y="1072815"/>
            <a:ext cx="2727158" cy="341632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529262" y="1072815"/>
            <a:ext cx="8037095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ea typeface="MS Mincho"/>
              </a:rPr>
              <a:t>Companies should understand that by implementing CSR they can not only</a:t>
            </a:r>
            <a:br>
              <a:rPr lang="en-US" dirty="0" smtClean="0">
                <a:ea typeface="MS Mincho"/>
              </a:rPr>
            </a:br>
            <a:r>
              <a:rPr lang="en-US" b="1" dirty="0" smtClean="0">
                <a:ea typeface="MS Mincho"/>
              </a:rPr>
              <a:t>enhance </a:t>
            </a:r>
            <a:r>
              <a:rPr lang="en-US" dirty="0" smtClean="0">
                <a:ea typeface="MS Mincho"/>
              </a:rPr>
              <a:t>consumer </a:t>
            </a:r>
            <a:r>
              <a:rPr lang="en-US" b="1" dirty="0" smtClean="0">
                <a:ea typeface="MS Mincho"/>
              </a:rPr>
              <a:t>brand perception </a:t>
            </a:r>
            <a:r>
              <a:rPr lang="en-US" dirty="0" smtClean="0">
                <a:ea typeface="MS Mincho"/>
              </a:rPr>
              <a:t>but also </a:t>
            </a:r>
            <a:r>
              <a:rPr lang="en-US" b="1" dirty="0" smtClean="0">
                <a:ea typeface="MS Mincho"/>
              </a:rPr>
              <a:t>financial measures</a:t>
            </a:r>
            <a:r>
              <a:rPr lang="en-US" dirty="0" smtClean="0">
                <a:ea typeface="MS Mincho"/>
              </a:rPr>
              <a:t>. </a:t>
            </a:r>
          </a:p>
          <a:p>
            <a:endParaRPr lang="en-US" dirty="0" smtClean="0">
              <a:ea typeface="MS Mincho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anies should bring their </a:t>
            </a:r>
            <a:r>
              <a:rPr lang="en-US" b="1" dirty="0" smtClean="0"/>
              <a:t>CSR activities to the news</a:t>
            </a:r>
            <a:r>
              <a:rPr lang="en-US" dirty="0" smtClean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SR activities should have a </a:t>
            </a:r>
            <a:r>
              <a:rPr lang="en-US" b="1" dirty="0" smtClean="0"/>
              <a:t>long-term charac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anies should highly concentrate on </a:t>
            </a:r>
            <a:r>
              <a:rPr lang="en-US" b="1" dirty="0" smtClean="0"/>
              <a:t>activities concerning the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panies should communicate where their CSR activities take place: </a:t>
            </a:r>
            <a:br>
              <a:rPr lang="en-US" dirty="0" smtClean="0"/>
            </a:br>
            <a:r>
              <a:rPr lang="en-US" dirty="0" smtClean="0"/>
              <a:t>CSR activities that take place in the </a:t>
            </a:r>
            <a:r>
              <a:rPr lang="en-US" b="1" dirty="0" smtClean="0"/>
              <a:t>home country </a:t>
            </a:r>
            <a:r>
              <a:rPr lang="en-US" dirty="0" smtClean="0"/>
              <a:t>or </a:t>
            </a:r>
            <a:r>
              <a:rPr lang="en-US" b="1" dirty="0" smtClean="0"/>
              <a:t>foreign developing </a:t>
            </a:r>
            <a:r>
              <a:rPr lang="en-US" dirty="0" smtClean="0"/>
              <a:t>country have the strongest positive impacts.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431" y="4973053"/>
            <a:ext cx="2727158" cy="147587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29262" y="5249324"/>
            <a:ext cx="784459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tudy is </a:t>
            </a:r>
            <a:r>
              <a:rPr lang="en-US" b="1" dirty="0" smtClean="0"/>
              <a:t>limited </a:t>
            </a:r>
            <a:r>
              <a:rPr lang="en-US" dirty="0" smtClean="0"/>
              <a:t>to consumers in developed countries (here, German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tudy is </a:t>
            </a:r>
            <a:r>
              <a:rPr lang="en-US" b="1" dirty="0" smtClean="0"/>
              <a:t>limited</a:t>
            </a:r>
            <a:r>
              <a:rPr lang="en-US" dirty="0" smtClean="0"/>
              <a:t> to a small number of brands that are listed on the stock mark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0563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"/>
          <p:cNvSpPr>
            <a:spLocks noChangeArrowheads="1"/>
          </p:cNvSpPr>
          <p:nvPr/>
        </p:nvSpPr>
        <p:spPr bwMode="auto">
          <a:xfrm>
            <a:off x="6627691" y="4286738"/>
            <a:ext cx="4860925" cy="1600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en-US" sz="1600" b="1" dirty="0" smtClean="0"/>
          </a:p>
          <a:p>
            <a:r>
              <a:rPr lang="de-DE" b="1" dirty="0" err="1" smtClean="0"/>
              <a:t>Contact</a:t>
            </a:r>
            <a:r>
              <a:rPr lang="de-DE" b="1" dirty="0" smtClean="0"/>
              <a:t>:</a:t>
            </a:r>
            <a:endParaRPr lang="en-US" b="1" dirty="0"/>
          </a:p>
          <a:p>
            <a:r>
              <a:rPr lang="en-US" sz="1600" dirty="0" smtClean="0"/>
              <a:t>Dr. Samuel Stäbler</a:t>
            </a:r>
            <a:br>
              <a:rPr lang="en-US" sz="1600" dirty="0" smtClean="0"/>
            </a:br>
            <a:r>
              <a:rPr lang="en-US" sz="1600" dirty="0" smtClean="0"/>
              <a:t>Assistant Professor of Marketing</a:t>
            </a:r>
            <a:br>
              <a:rPr lang="en-US" sz="1600" dirty="0" smtClean="0"/>
            </a:br>
            <a:r>
              <a:rPr lang="en-US" sz="1600" dirty="0" smtClean="0"/>
              <a:t>School of Economics and Management Tilburg</a:t>
            </a:r>
          </a:p>
          <a:p>
            <a:r>
              <a:rPr lang="de-DE" sz="1600" dirty="0" smtClean="0"/>
              <a:t>s.staebler@tilburgunviersity.edu</a:t>
            </a:r>
            <a:endParaRPr lang="en-US" sz="1600" dirty="0"/>
          </a:p>
        </p:txBody>
      </p:sp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6703" y="1119381"/>
            <a:ext cx="4752594" cy="4670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Rectangle 34"/>
          <p:cNvSpPr>
            <a:spLocks noChangeArrowheads="1"/>
          </p:cNvSpPr>
          <p:nvPr/>
        </p:nvSpPr>
        <p:spPr bwMode="gray">
          <a:xfrm>
            <a:off x="135067" y="139920"/>
            <a:ext cx="9360594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THANK YOU VERY MUCH FOR YOUR ATTENTION</a:t>
            </a:r>
            <a:endParaRPr lang="en-US" sz="17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564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35</TotalTime>
  <Words>1093</Words>
  <Application>Microsoft Office PowerPoint</Application>
  <PresentationFormat>Widescreen</PresentationFormat>
  <Paragraphs>427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ＭＳ Ｐゴシック</vt:lpstr>
      <vt:lpstr>Arial</vt:lpstr>
      <vt:lpstr>Calibri</vt:lpstr>
      <vt:lpstr>Calibri Light</vt:lpstr>
      <vt:lpstr>Cambria Math</vt:lpstr>
      <vt:lpstr>MS Mincho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earch Project Ideas</dc:title>
  <dc:creator>Samuel Stäbler</dc:creator>
  <cp:lastModifiedBy>Samuel Stäbler</cp:lastModifiedBy>
  <cp:revision>248</cp:revision>
  <cp:lastPrinted>2019-04-12T13:10:20Z</cp:lastPrinted>
  <dcterms:created xsi:type="dcterms:W3CDTF">2019-02-20T14:58:27Z</dcterms:created>
  <dcterms:modified xsi:type="dcterms:W3CDTF">2019-05-12T17:12:26Z</dcterms:modified>
</cp:coreProperties>
</file>